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292"/>
  </p:notesMasterIdLst>
  <p:handoutMasterIdLst>
    <p:handoutMasterId r:id="rId293"/>
  </p:handoutMasterIdLst>
  <p:sldIdLst>
    <p:sldId id="343" r:id="rId4"/>
    <p:sldId id="325" r:id="rId5"/>
    <p:sldId id="327" r:id="rId6"/>
    <p:sldId id="10470" r:id="rId7"/>
    <p:sldId id="371" r:id="rId8"/>
    <p:sldId id="328" r:id="rId9"/>
    <p:sldId id="10525" r:id="rId10"/>
    <p:sldId id="511" r:id="rId11"/>
    <p:sldId id="10522" r:id="rId12"/>
    <p:sldId id="10471"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10523" r:id="rId28"/>
    <p:sldId id="938" r:id="rId29"/>
    <p:sldId id="947" r:id="rId30"/>
    <p:sldId id="10526" r:id="rId31"/>
    <p:sldId id="10524" r:id="rId32"/>
    <p:sldId id="340" r:id="rId33"/>
    <p:sldId id="609" r:id="rId34"/>
    <p:sldId id="966" r:id="rId35"/>
    <p:sldId id="967" r:id="rId36"/>
    <p:sldId id="971" r:id="rId37"/>
    <p:sldId id="972" r:id="rId38"/>
    <p:sldId id="973" r:id="rId39"/>
    <p:sldId id="974" r:id="rId40"/>
    <p:sldId id="975" r:id="rId41"/>
    <p:sldId id="10527" r:id="rId42"/>
    <p:sldId id="980" r:id="rId43"/>
    <p:sldId id="968" r:id="rId44"/>
    <p:sldId id="10531" r:id="rId45"/>
    <p:sldId id="10532" r:id="rId46"/>
    <p:sldId id="10528" r:id="rId47"/>
    <p:sldId id="10529" r:id="rId48"/>
    <p:sldId id="10530" r:id="rId49"/>
    <p:sldId id="10533" r:id="rId50"/>
    <p:sldId id="976" r:id="rId51"/>
    <p:sldId id="10472" r:id="rId52"/>
    <p:sldId id="1003" r:id="rId53"/>
    <p:sldId id="611" r:id="rId54"/>
    <p:sldId id="948" r:id="rId55"/>
    <p:sldId id="612" r:id="rId56"/>
    <p:sldId id="613" r:id="rId57"/>
    <p:sldId id="614" r:id="rId58"/>
    <p:sldId id="616" r:id="rId59"/>
    <p:sldId id="949" r:id="rId60"/>
    <p:sldId id="950" r:id="rId61"/>
    <p:sldId id="951" r:id="rId62"/>
    <p:sldId id="952" r:id="rId63"/>
    <p:sldId id="955" r:id="rId64"/>
    <p:sldId id="953" r:id="rId65"/>
    <p:sldId id="1012" r:id="rId66"/>
    <p:sldId id="1016" r:id="rId67"/>
    <p:sldId id="1013" r:id="rId68"/>
    <p:sldId id="1014" r:id="rId69"/>
    <p:sldId id="1015" r:id="rId70"/>
    <p:sldId id="1018" r:id="rId71"/>
    <p:sldId id="1043" r:id="rId72"/>
    <p:sldId id="1019" r:id="rId73"/>
    <p:sldId id="1071" r:id="rId74"/>
    <p:sldId id="1036" r:id="rId75"/>
    <p:sldId id="1037" r:id="rId76"/>
    <p:sldId id="1038" r:id="rId77"/>
    <p:sldId id="1040" r:id="rId78"/>
    <p:sldId id="1020" r:id="rId79"/>
    <p:sldId id="1021" r:id="rId80"/>
    <p:sldId id="1022" r:id="rId81"/>
    <p:sldId id="1023" r:id="rId82"/>
    <p:sldId id="1024" r:id="rId83"/>
    <p:sldId id="1025" r:id="rId84"/>
    <p:sldId id="1026" r:id="rId85"/>
    <p:sldId id="1027" r:id="rId86"/>
    <p:sldId id="1030" r:id="rId87"/>
    <p:sldId id="1031" r:id="rId88"/>
    <p:sldId id="1044" r:id="rId89"/>
    <p:sldId id="1042" r:id="rId90"/>
    <p:sldId id="1039" r:id="rId91"/>
    <p:sldId id="1032" r:id="rId92"/>
    <p:sldId id="1033" r:id="rId93"/>
    <p:sldId id="1034" r:id="rId94"/>
    <p:sldId id="1045" r:id="rId95"/>
    <p:sldId id="1035" r:id="rId96"/>
    <p:sldId id="1046" r:id="rId97"/>
    <p:sldId id="1047" r:id="rId98"/>
    <p:sldId id="1028" r:id="rId99"/>
    <p:sldId id="1048" r:id="rId100"/>
    <p:sldId id="1049" r:id="rId101"/>
    <p:sldId id="1050" r:id="rId102"/>
    <p:sldId id="1051" r:id="rId103"/>
    <p:sldId id="1052" r:id="rId104"/>
    <p:sldId id="1029" r:id="rId105"/>
    <p:sldId id="1053" r:id="rId106"/>
    <p:sldId id="1054" r:id="rId107"/>
    <p:sldId id="1055" r:id="rId108"/>
    <p:sldId id="1056" r:id="rId109"/>
    <p:sldId id="1057" r:id="rId110"/>
    <p:sldId id="1072" r:id="rId111"/>
    <p:sldId id="1060" r:id="rId112"/>
    <p:sldId id="1062" r:id="rId113"/>
    <p:sldId id="1064" r:id="rId114"/>
    <p:sldId id="1061" r:id="rId115"/>
    <p:sldId id="1065" r:id="rId116"/>
    <p:sldId id="1066" r:id="rId117"/>
    <p:sldId id="1070" r:id="rId118"/>
    <p:sldId id="1067" r:id="rId119"/>
    <p:sldId id="1068" r:id="rId120"/>
    <p:sldId id="1069" r:id="rId121"/>
    <p:sldId id="1058" r:id="rId122"/>
    <p:sldId id="1073" r:id="rId123"/>
    <p:sldId id="1059" r:id="rId124"/>
    <p:sldId id="1074" r:id="rId125"/>
    <p:sldId id="1075" r:id="rId126"/>
    <p:sldId id="1078" r:id="rId127"/>
    <p:sldId id="1079" r:id="rId128"/>
    <p:sldId id="1080" r:id="rId129"/>
    <p:sldId id="10473" r:id="rId130"/>
    <p:sldId id="1081" r:id="rId131"/>
    <p:sldId id="1076" r:id="rId132"/>
    <p:sldId id="1077" r:id="rId133"/>
    <p:sldId id="1082" r:id="rId134"/>
    <p:sldId id="1083" r:id="rId135"/>
    <p:sldId id="1084" r:id="rId136"/>
    <p:sldId id="1085" r:id="rId137"/>
    <p:sldId id="1088" r:id="rId138"/>
    <p:sldId id="1089" r:id="rId139"/>
    <p:sldId id="10536" r:id="rId140"/>
    <p:sldId id="1090" r:id="rId141"/>
    <p:sldId id="1091" r:id="rId142"/>
    <p:sldId id="10537" r:id="rId143"/>
    <p:sldId id="1087" r:id="rId144"/>
    <p:sldId id="1086" r:id="rId145"/>
    <p:sldId id="1092" r:id="rId146"/>
    <p:sldId id="1098" r:id="rId147"/>
    <p:sldId id="1093" r:id="rId148"/>
    <p:sldId id="1094" r:id="rId149"/>
    <p:sldId id="1095" r:id="rId150"/>
    <p:sldId id="1096" r:id="rId151"/>
    <p:sldId id="1103" r:id="rId152"/>
    <p:sldId id="1118" r:id="rId153"/>
    <p:sldId id="1097" r:id="rId154"/>
    <p:sldId id="1099" r:id="rId155"/>
    <p:sldId id="1100" r:id="rId156"/>
    <p:sldId id="1104" r:id="rId157"/>
    <p:sldId id="1107" r:id="rId158"/>
    <p:sldId id="1106" r:id="rId159"/>
    <p:sldId id="1108" r:id="rId160"/>
    <p:sldId id="1109" r:id="rId161"/>
    <p:sldId id="1110" r:id="rId162"/>
    <p:sldId id="1111" r:id="rId163"/>
    <p:sldId id="10476" r:id="rId164"/>
    <p:sldId id="1101" r:id="rId165"/>
    <p:sldId id="1102" r:id="rId166"/>
    <p:sldId id="1119" r:id="rId167"/>
    <p:sldId id="665" r:id="rId168"/>
    <p:sldId id="1122" r:id="rId169"/>
    <p:sldId id="1120" r:id="rId170"/>
    <p:sldId id="1121" r:id="rId171"/>
    <p:sldId id="834" r:id="rId172"/>
    <p:sldId id="838" r:id="rId173"/>
    <p:sldId id="839" r:id="rId174"/>
    <p:sldId id="841" r:id="rId175"/>
    <p:sldId id="842" r:id="rId176"/>
    <p:sldId id="843" r:id="rId177"/>
    <p:sldId id="835" r:id="rId178"/>
    <p:sldId id="844" r:id="rId179"/>
    <p:sldId id="836" r:id="rId180"/>
    <p:sldId id="846" r:id="rId181"/>
    <p:sldId id="847" r:id="rId182"/>
    <p:sldId id="868" r:id="rId183"/>
    <p:sldId id="869" r:id="rId184"/>
    <p:sldId id="872" r:id="rId185"/>
    <p:sldId id="870" r:id="rId186"/>
    <p:sldId id="10475" r:id="rId187"/>
    <p:sldId id="1112" r:id="rId188"/>
    <p:sldId id="1114" r:id="rId189"/>
    <p:sldId id="1113" r:id="rId190"/>
    <p:sldId id="1125" r:id="rId191"/>
    <p:sldId id="1129" r:id="rId192"/>
    <p:sldId id="1126" r:id="rId193"/>
    <p:sldId id="1123" r:id="rId194"/>
    <p:sldId id="1124" r:id="rId195"/>
    <p:sldId id="1128" r:id="rId196"/>
    <p:sldId id="1131" r:id="rId197"/>
    <p:sldId id="1127" r:id="rId198"/>
    <p:sldId id="1130" r:id="rId199"/>
    <p:sldId id="1132" r:id="rId200"/>
    <p:sldId id="1133" r:id="rId201"/>
    <p:sldId id="1134" r:id="rId202"/>
    <p:sldId id="10490" r:id="rId203"/>
    <p:sldId id="1115" r:id="rId204"/>
    <p:sldId id="1116" r:id="rId205"/>
    <p:sldId id="1117" r:id="rId206"/>
    <p:sldId id="1105" r:id="rId207"/>
    <p:sldId id="1011" r:id="rId208"/>
    <p:sldId id="10403" r:id="rId209"/>
    <p:sldId id="10404" r:id="rId210"/>
    <p:sldId id="10405" r:id="rId211"/>
    <p:sldId id="10402" r:id="rId212"/>
    <p:sldId id="10407" r:id="rId213"/>
    <p:sldId id="10446" r:id="rId214"/>
    <p:sldId id="10440" r:id="rId215"/>
    <p:sldId id="10441" r:id="rId216"/>
    <p:sldId id="10451" r:id="rId217"/>
    <p:sldId id="10431" r:id="rId218"/>
    <p:sldId id="10452" r:id="rId219"/>
    <p:sldId id="10453" r:id="rId220"/>
    <p:sldId id="10454" r:id="rId221"/>
    <p:sldId id="10455" r:id="rId222"/>
    <p:sldId id="10448" r:id="rId223"/>
    <p:sldId id="10449" r:id="rId224"/>
    <p:sldId id="10450" r:id="rId225"/>
    <p:sldId id="10459" r:id="rId226"/>
    <p:sldId id="10447" r:id="rId227"/>
    <p:sldId id="10406" r:id="rId228"/>
    <p:sldId id="10425" r:id="rId229"/>
    <p:sldId id="10426" r:id="rId230"/>
    <p:sldId id="10409" r:id="rId231"/>
    <p:sldId id="10421" r:id="rId232"/>
    <p:sldId id="10417" r:id="rId233"/>
    <p:sldId id="10408" r:id="rId234"/>
    <p:sldId id="10427" r:id="rId235"/>
    <p:sldId id="10435" r:id="rId236"/>
    <p:sldId id="10437" r:id="rId237"/>
    <p:sldId id="10436" r:id="rId238"/>
    <p:sldId id="10438" r:id="rId239"/>
    <p:sldId id="10439" r:id="rId240"/>
    <p:sldId id="10442" r:id="rId241"/>
    <p:sldId id="10443" r:id="rId242"/>
    <p:sldId id="10444" r:id="rId243"/>
    <p:sldId id="10445" r:id="rId244"/>
    <p:sldId id="10428" r:id="rId245"/>
    <p:sldId id="10429" r:id="rId246"/>
    <p:sldId id="10430" r:id="rId247"/>
    <p:sldId id="10422" r:id="rId248"/>
    <p:sldId id="10423" r:id="rId249"/>
    <p:sldId id="10534" r:id="rId250"/>
    <p:sldId id="10535" r:id="rId251"/>
    <p:sldId id="10544" r:id="rId252"/>
    <p:sldId id="10545" r:id="rId253"/>
    <p:sldId id="10546" r:id="rId254"/>
    <p:sldId id="10547" r:id="rId255"/>
    <p:sldId id="10548" r:id="rId256"/>
    <p:sldId id="10549" r:id="rId257"/>
    <p:sldId id="10552" r:id="rId258"/>
    <p:sldId id="10553" r:id="rId259"/>
    <p:sldId id="10550" r:id="rId260"/>
    <p:sldId id="10551" r:id="rId261"/>
    <p:sldId id="10554" r:id="rId262"/>
    <p:sldId id="10538" r:id="rId263"/>
    <p:sldId id="10539" r:id="rId264"/>
    <p:sldId id="10557" r:id="rId265"/>
    <p:sldId id="10558" r:id="rId266"/>
    <p:sldId id="10559" r:id="rId267"/>
    <p:sldId id="10556" r:id="rId268"/>
    <p:sldId id="10555" r:id="rId269"/>
    <p:sldId id="10541" r:id="rId270"/>
    <p:sldId id="10540" r:id="rId271"/>
    <p:sldId id="10542" r:id="rId272"/>
    <p:sldId id="10543" r:id="rId273"/>
    <p:sldId id="936" r:id="rId274"/>
    <p:sldId id="825" r:id="rId275"/>
    <p:sldId id="823" r:id="rId276"/>
    <p:sldId id="824" r:id="rId277"/>
    <p:sldId id="810" r:id="rId278"/>
    <p:sldId id="10560" r:id="rId279"/>
    <p:sldId id="512" r:id="rId280"/>
    <p:sldId id="345" r:id="rId281"/>
    <p:sldId id="10561" r:id="rId282"/>
    <p:sldId id="294" r:id="rId283"/>
    <p:sldId id="332" r:id="rId284"/>
    <p:sldId id="349" r:id="rId285"/>
    <p:sldId id="344" r:id="rId286"/>
    <p:sldId id="333" r:id="rId287"/>
    <p:sldId id="339" r:id="rId288"/>
    <p:sldId id="336" r:id="rId289"/>
    <p:sldId id="337" r:id="rId290"/>
    <p:sldId id="341" r:id="rId29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10527"/>
            <p14:sldId id="980"/>
            <p14:sldId id="968"/>
            <p14:sldId id="10531"/>
            <p14:sldId id="10532"/>
            <p14:sldId id="10528"/>
            <p14:sldId id="10529"/>
            <p14:sldId id="10530"/>
            <p14:sldId id="10533"/>
            <p14:sldId id="976"/>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536"/>
            <p14:sldId id="1090"/>
            <p14:sldId id="1091"/>
            <p14:sldId id="10537"/>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DEMO 7" id="{477BF396-9388-48F0-9437-2453EB37C2B8}">
          <p14:sldIdLst>
            <p14:sldId id="10534"/>
            <p14:sldId id="10535"/>
            <p14:sldId id="10544"/>
            <p14:sldId id="10545"/>
            <p14:sldId id="10546"/>
            <p14:sldId id="10547"/>
            <p14:sldId id="10548"/>
            <p14:sldId id="10549"/>
            <p14:sldId id="10552"/>
            <p14:sldId id="10553"/>
            <p14:sldId id="10550"/>
            <p14:sldId id="10551"/>
            <p14:sldId id="10554"/>
          </p14:sldIdLst>
        </p14:section>
        <p14:section name="DEMO 8" id="{4D0A1D89-3845-4A91-BA47-1778A01866AE}">
          <p14:sldIdLst>
            <p14:sldId id="10538"/>
            <p14:sldId id="10539"/>
            <p14:sldId id="10557"/>
            <p14:sldId id="10558"/>
            <p14:sldId id="10559"/>
            <p14:sldId id="10556"/>
            <p14:sldId id="10555"/>
          </p14:sldIdLst>
        </p14:section>
        <p14:section name="DEMO 9" id="{A8F48E4E-B6BB-4AB0-8566-E543075632EB}">
          <p14:sldIdLst>
            <p14:sldId id="10541"/>
            <p14:sldId id="10540"/>
          </p14:sldIdLst>
        </p14:section>
        <p14:section name="DEMO 10" id="{C12E384D-747C-4067-BFD2-67D100546F4E}">
          <p14:sldIdLst>
            <p14:sldId id="10542"/>
            <p14:sldId id="10543"/>
          </p14:sldIdLst>
        </p14:section>
        <p14:section name="END" id="{D63A5623-874A-4021-8463-B45A95150954}">
          <p14:sldIdLst>
            <p14:sldId id="936"/>
            <p14:sldId id="825"/>
            <p14:sldId id="823"/>
            <p14:sldId id="824"/>
            <p14:sldId id="810"/>
            <p14:sldId id="10560"/>
            <p14:sldId id="512"/>
            <p14:sldId id="345"/>
            <p14:sldId id="10561"/>
          </p14:sldIdLst>
        </p14:section>
        <p14:section name="REFERENCE SLIDES" id="{1BF493E7-959B-4098-9BC3-C5CDEA4CA9C0}">
          <p14:sldIdLst>
            <p14:sldId id="294"/>
            <p14:sldId id="332"/>
            <p14:sldId id="349"/>
            <p14:sldId id="344"/>
            <p14:sldId id="333"/>
            <p14:sldId id="339"/>
            <p14:sldId id="336"/>
            <p14:sldId id="337"/>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19" autoAdjust="0"/>
    <p:restoredTop sz="87818" autoAdjust="0"/>
  </p:normalViewPr>
  <p:slideViewPr>
    <p:cSldViewPr snapToGrid="0">
      <p:cViewPr>
        <p:scale>
          <a:sx n="125" d="100"/>
          <a:sy n="125" d="100"/>
        </p:scale>
        <p:origin x="762" y="336"/>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170" Type="http://schemas.openxmlformats.org/officeDocument/2006/relationships/slide" Target="slides/slide167.xml"/><Relationship Id="rId226" Type="http://schemas.openxmlformats.org/officeDocument/2006/relationships/slide" Target="slides/slide223.xml"/><Relationship Id="rId268" Type="http://schemas.openxmlformats.org/officeDocument/2006/relationships/slide" Target="slides/slide265.xml"/><Relationship Id="rId32" Type="http://schemas.openxmlformats.org/officeDocument/2006/relationships/slide" Target="slides/slide29.xml"/><Relationship Id="rId74" Type="http://schemas.openxmlformats.org/officeDocument/2006/relationships/slide" Target="slides/slide71.xml"/><Relationship Id="rId128" Type="http://schemas.openxmlformats.org/officeDocument/2006/relationships/slide" Target="slides/slide125.xml"/><Relationship Id="rId5" Type="http://schemas.openxmlformats.org/officeDocument/2006/relationships/slide" Target="slides/slide2.xml"/><Relationship Id="rId181" Type="http://schemas.openxmlformats.org/officeDocument/2006/relationships/slide" Target="slides/slide178.xml"/><Relationship Id="rId237" Type="http://schemas.openxmlformats.org/officeDocument/2006/relationships/slide" Target="slides/slide234.xml"/><Relationship Id="rId279" Type="http://schemas.openxmlformats.org/officeDocument/2006/relationships/slide" Target="slides/slide276.xml"/><Relationship Id="rId43" Type="http://schemas.openxmlformats.org/officeDocument/2006/relationships/slide" Target="slides/slide40.xml"/><Relationship Id="rId139" Type="http://schemas.openxmlformats.org/officeDocument/2006/relationships/slide" Target="slides/slide136.xml"/><Relationship Id="rId290" Type="http://schemas.openxmlformats.org/officeDocument/2006/relationships/slide" Target="slides/slide287.xml"/><Relationship Id="rId85" Type="http://schemas.openxmlformats.org/officeDocument/2006/relationships/slide" Target="slides/slide82.xml"/><Relationship Id="rId150" Type="http://schemas.openxmlformats.org/officeDocument/2006/relationships/slide" Target="slides/slide147.xml"/><Relationship Id="rId192" Type="http://schemas.openxmlformats.org/officeDocument/2006/relationships/slide" Target="slides/slide189.xml"/><Relationship Id="rId206" Type="http://schemas.openxmlformats.org/officeDocument/2006/relationships/slide" Target="slides/slide203.xml"/><Relationship Id="rId248" Type="http://schemas.openxmlformats.org/officeDocument/2006/relationships/slide" Target="slides/slide245.xml"/><Relationship Id="rId12" Type="http://schemas.openxmlformats.org/officeDocument/2006/relationships/slide" Target="slides/slide9.xml"/><Relationship Id="rId108" Type="http://schemas.openxmlformats.org/officeDocument/2006/relationships/slide" Target="slides/slide105.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291" Type="http://schemas.openxmlformats.org/officeDocument/2006/relationships/slide" Target="slides/slide288.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281" Type="http://schemas.openxmlformats.org/officeDocument/2006/relationships/slide" Target="slides/slide278.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92" Type="http://schemas.openxmlformats.org/officeDocument/2006/relationships/notesMaster" Target="notesMasters/notesMaster1.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slide" Target="slides/slide258.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282" Type="http://schemas.openxmlformats.org/officeDocument/2006/relationships/slide" Target="slides/slide279.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72" Type="http://schemas.openxmlformats.org/officeDocument/2006/relationships/slide" Target="slides/slide269.xml"/><Relationship Id="rId293" Type="http://schemas.openxmlformats.org/officeDocument/2006/relationships/handoutMaster" Target="handoutMasters/handoutMaster1.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slide" Target="slides/slide259.xml"/><Relationship Id="rId283" Type="http://schemas.openxmlformats.org/officeDocument/2006/relationships/slide" Target="slides/slide280.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slide" Target="slides/slide270.xml"/><Relationship Id="rId294" Type="http://schemas.openxmlformats.org/officeDocument/2006/relationships/commentAuthors" Target="commentAuthors.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284" Type="http://schemas.openxmlformats.org/officeDocument/2006/relationships/slide" Target="slides/slide281.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slide" Target="slides/slide271.xml"/><Relationship Id="rId295" Type="http://schemas.openxmlformats.org/officeDocument/2006/relationships/presProps" Target="presProps.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285" Type="http://schemas.openxmlformats.org/officeDocument/2006/relationships/slide" Target="slides/slide282.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slide" Target="slides/slide272.xml"/><Relationship Id="rId296" Type="http://schemas.openxmlformats.org/officeDocument/2006/relationships/viewProps" Target="viewProps.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286" Type="http://schemas.openxmlformats.org/officeDocument/2006/relationships/slide" Target="slides/slide283.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slide" Target="slides/slide273.xml"/><Relationship Id="rId297" Type="http://schemas.openxmlformats.org/officeDocument/2006/relationships/theme" Target="theme/theme1.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266" Type="http://schemas.openxmlformats.org/officeDocument/2006/relationships/slide" Target="slides/slide263.xml"/><Relationship Id="rId287" Type="http://schemas.openxmlformats.org/officeDocument/2006/relationships/slide" Target="slides/slide284.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277" Type="http://schemas.openxmlformats.org/officeDocument/2006/relationships/slide" Target="slides/slide274.xml"/><Relationship Id="rId298" Type="http://schemas.openxmlformats.org/officeDocument/2006/relationships/tableStyles" Target="tableStyles.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267" Type="http://schemas.openxmlformats.org/officeDocument/2006/relationships/slide" Target="slides/slide264.xml"/><Relationship Id="rId288" Type="http://schemas.openxmlformats.org/officeDocument/2006/relationships/slide" Target="slides/slide285.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slide" Target="slides/slide275.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 Id="rId191" Type="http://schemas.openxmlformats.org/officeDocument/2006/relationships/slide" Target="slides/slide188.xml"/><Relationship Id="rId205" Type="http://schemas.openxmlformats.org/officeDocument/2006/relationships/slide" Target="slides/slide202.xml"/><Relationship Id="rId247" Type="http://schemas.openxmlformats.org/officeDocument/2006/relationships/slide" Target="slides/slide244.xml"/><Relationship Id="rId107" Type="http://schemas.openxmlformats.org/officeDocument/2006/relationships/slide" Target="slides/slide104.xml"/><Relationship Id="rId289" Type="http://schemas.openxmlformats.org/officeDocument/2006/relationships/slide" Target="slides/slide286.xml"/><Relationship Id="rId11" Type="http://schemas.openxmlformats.org/officeDocument/2006/relationships/slide" Target="slides/slide8.xml"/><Relationship Id="rId53" Type="http://schemas.openxmlformats.org/officeDocument/2006/relationships/slide" Target="slides/slide50.xml"/><Relationship Id="rId149" Type="http://schemas.openxmlformats.org/officeDocument/2006/relationships/slide" Target="slides/slide146.xml"/><Relationship Id="rId95" Type="http://schemas.openxmlformats.org/officeDocument/2006/relationships/slide" Target="slides/slide92.xml"/><Relationship Id="rId160" Type="http://schemas.openxmlformats.org/officeDocument/2006/relationships/slide" Target="slides/slide157.xml"/><Relationship Id="rId216" Type="http://schemas.openxmlformats.org/officeDocument/2006/relationships/slide" Target="slides/slide213.xml"/><Relationship Id="rId258" Type="http://schemas.openxmlformats.org/officeDocument/2006/relationships/slide" Target="slides/slide255.xml"/><Relationship Id="rId22" Type="http://schemas.openxmlformats.org/officeDocument/2006/relationships/slide" Target="slides/slide19.xml"/><Relationship Id="rId64" Type="http://schemas.openxmlformats.org/officeDocument/2006/relationships/slide" Target="slides/slide61.xml"/><Relationship Id="rId118" Type="http://schemas.openxmlformats.org/officeDocument/2006/relationships/slide" Target="slides/slide115.xml"/><Relationship Id="rId171" Type="http://schemas.openxmlformats.org/officeDocument/2006/relationships/slide" Target="slides/slide168.xml"/><Relationship Id="rId227" Type="http://schemas.openxmlformats.org/officeDocument/2006/relationships/slide" Target="slides/slide224.xml"/><Relationship Id="rId269" Type="http://schemas.openxmlformats.org/officeDocument/2006/relationships/slide" Target="slides/slide266.xml"/><Relationship Id="rId33" Type="http://schemas.openxmlformats.org/officeDocument/2006/relationships/slide" Target="slides/slide30.xml"/><Relationship Id="rId129" Type="http://schemas.openxmlformats.org/officeDocument/2006/relationships/slide" Target="slides/slide126.xml"/><Relationship Id="rId280" Type="http://schemas.openxmlformats.org/officeDocument/2006/relationships/slide" Target="slides/slide27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0/30/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60.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73.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43.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3:5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16174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2450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789084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0717054"/>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3231225"/>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4127641"/>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0458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3:5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1548316"/>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6201402"/>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9366552"/>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3599955"/>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83951934"/>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65231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711033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9121404"/>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7999447"/>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22328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4: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2802206"/>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273</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6035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8146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69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780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28938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6136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470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0971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3:5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3:5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3: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0/30/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0/30/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0/3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0/3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0/3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0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11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1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16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1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6512"/>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0/30/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2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29.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7.xml"/><Relationship Id="rId1" Type="http://schemas.openxmlformats.org/officeDocument/2006/relationships/slideLayout" Target="../slideLayouts/slideLayout18.xml"/><Relationship Id="rId5" Type="http://schemas.openxmlformats.org/officeDocument/2006/relationships/image" Target="../media/image181.svg"/><Relationship Id="rId4" Type="http://schemas.openxmlformats.org/officeDocument/2006/relationships/image" Target="../media/image180.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3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4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0.xml"/><Relationship Id="rId1" Type="http://schemas.openxmlformats.org/officeDocument/2006/relationships/slideLayout" Target="../slideLayouts/slideLayout18.xml"/><Relationship Id="rId4" Type="http://schemas.openxmlformats.org/officeDocument/2006/relationships/image" Target="../media/image195.png"/></Relationships>
</file>

<file path=ppt/slides/_rels/slide143.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4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4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5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1.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42.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6.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60.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2.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8.xml"/><Relationship Id="rId1" Type="http://schemas.openxmlformats.org/officeDocument/2006/relationships/slideLayout" Target="../slideLayouts/slideLayout18.xml"/></Relationships>
</file>

<file path=ppt/slides/_rels/slide163.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9.xml"/><Relationship Id="rId1" Type="http://schemas.openxmlformats.org/officeDocument/2006/relationships/slideLayout" Target="../slideLayouts/slideLayout18.xml"/><Relationship Id="rId4" Type="http://schemas.openxmlformats.org/officeDocument/2006/relationships/image" Target="../media/image215.png"/></Relationships>
</file>

<file path=ppt/slides/_rels/slide16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66.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6.png"/><Relationship Id="rId7" Type="http://schemas.openxmlformats.org/officeDocument/2006/relationships/image" Target="../media/image221.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6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23.png"/><Relationship Id="rId5" Type="http://schemas.openxmlformats.org/officeDocument/2006/relationships/image" Target="../media/image219.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9.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25.png"/><Relationship Id="rId4" Type="http://schemas.openxmlformats.org/officeDocument/2006/relationships/image" Target="../media/image224.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7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5.png"/></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6.png"/></Relationships>
</file>

<file path=ppt/slides/_rels/slide17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7.png"/></Relationships>
</file>

<file path=ppt/slides/_rels/slide17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8.png"/></Relationships>
</file>

<file path=ppt/slides/_rels/slide17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9.png"/></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0.png"/></Relationships>
</file>

<file path=ppt/slides/_rels/slide17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1.png"/></Relationships>
</file>

<file path=ppt/slides/_rels/slide1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1.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2.png"/></Relationships>
</file>

<file path=ppt/slides/_rels/slide17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2.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3.png"/></Relationships>
</file>

<file path=ppt/slides/_rels/slide17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3.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4.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8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5.png"/></Relationships>
</file>

<file path=ppt/slides/_rels/slide1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6.png"/></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66.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38.png"/><Relationship Id="rId4" Type="http://schemas.openxmlformats.org/officeDocument/2006/relationships/image" Target="../media/image237.png"/></Relationships>
</file>

<file path=ppt/slides/_rels/slide18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9.png"/></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5.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8.xml"/><Relationship Id="rId1" Type="http://schemas.openxmlformats.org/officeDocument/2006/relationships/slideLayout" Target="../slideLayouts/slideLayout18.xml"/></Relationships>
</file>

<file path=ppt/slides/_rels/slide186.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90.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1.xml"/><Relationship Id="rId4" Type="http://schemas.openxmlformats.org/officeDocument/2006/relationships/image" Target="../media/image247.svg"/></Relationships>
</file>

<file path=ppt/slides/_rels/slide19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3.xml"/><Relationship Id="rId1" Type="http://schemas.openxmlformats.org/officeDocument/2006/relationships/slideLayout" Target="../slideLayouts/slideLayout18.xml"/><Relationship Id="rId5" Type="http://schemas.openxmlformats.org/officeDocument/2006/relationships/image" Target="../media/image249.png"/><Relationship Id="rId4" Type="http://schemas.openxmlformats.org/officeDocument/2006/relationships/image" Target="../media/image248.png"/></Relationships>
</file>

<file path=ppt/slides/_rels/slide19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4.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3.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19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95.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6.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7.xml"/><Relationship Id="rId1" Type="http://schemas.openxmlformats.org/officeDocument/2006/relationships/slideLayout" Target="../slideLayouts/slideLayout18.xml"/><Relationship Id="rId4" Type="http://schemas.openxmlformats.org/officeDocument/2006/relationships/image" Target="../media/image254.png"/></Relationships>
</file>

<file path=ppt/slides/_rels/slide19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8.xml"/><Relationship Id="rId1" Type="http://schemas.openxmlformats.org/officeDocument/2006/relationships/slideLayout" Target="../slideLayouts/slideLayout18.xml"/><Relationship Id="rId4" Type="http://schemas.openxmlformats.org/officeDocument/2006/relationships/image" Target="../media/image255.png"/></Relationships>
</file>

<file path=ppt/slides/_rels/slide19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9.xml"/><Relationship Id="rId1" Type="http://schemas.openxmlformats.org/officeDocument/2006/relationships/slideLayout" Target="../slideLayouts/slideLayout18.xml"/><Relationship Id="rId4" Type="http://schemas.openxmlformats.org/officeDocument/2006/relationships/image" Target="../media/image2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1.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2.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1.xml"/><Relationship Id="rId1" Type="http://schemas.openxmlformats.org/officeDocument/2006/relationships/slideLayout" Target="../slideLayouts/slideLayout18.xml"/></Relationships>
</file>

<file path=ppt/slides/_rels/slide203.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2.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4.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3.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5.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84.xml"/><Relationship Id="rId1" Type="http://schemas.openxmlformats.org/officeDocument/2006/relationships/slideLayout" Target="../slideLayouts/slideLayout18.xml"/></Relationships>
</file>

<file path=ppt/slides/_rels/slide206.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7.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208.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9.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10.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9.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1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0.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13.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2.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4.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5.png"/></Relationships>
</file>

<file path=ppt/slides/_rels/slide215.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4.xml"/><Relationship Id="rId1" Type="http://schemas.openxmlformats.org/officeDocument/2006/relationships/slideLayout" Target="../slideLayouts/slideLayout29.xml"/><Relationship Id="rId4" Type="http://schemas.openxmlformats.org/officeDocument/2006/relationships/image" Target="../media/image277.png"/></Relationships>
</file>

<file path=ppt/slides/_rels/slide216.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5.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7.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6.xml"/><Relationship Id="rId1" Type="http://schemas.openxmlformats.org/officeDocument/2006/relationships/slideLayout" Target="../slideLayouts/slideLayout29.xml"/><Relationship Id="rId4" Type="http://schemas.openxmlformats.org/officeDocument/2006/relationships/image" Target="../media/image281.png"/></Relationships>
</file>

<file path=ppt/slides/_rels/slide218.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7.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3.png"/></Relationships>
</file>

<file path=ppt/slides/_rels/slide219.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286.png"/><Relationship Id="rId2" Type="http://schemas.openxmlformats.org/officeDocument/2006/relationships/notesSlide" Target="../notesSlides/notesSlide198.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20.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99.xml"/><Relationship Id="rId1" Type="http://schemas.openxmlformats.org/officeDocument/2006/relationships/slideLayout" Target="../slideLayouts/slideLayout29.xml"/><Relationship Id="rId6" Type="http://schemas.openxmlformats.org/officeDocument/2006/relationships/image" Target="../media/image288.png"/><Relationship Id="rId5" Type="http://schemas.openxmlformats.org/officeDocument/2006/relationships/image" Target="../media/image113.svg"/><Relationship Id="rId4" Type="http://schemas.openxmlformats.org/officeDocument/2006/relationships/image" Target="../media/image112.png"/></Relationships>
</file>

<file path=ppt/slides/_rels/slide221.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00.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2.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1.xml"/><Relationship Id="rId1" Type="http://schemas.openxmlformats.org/officeDocument/2006/relationships/slideLayout" Target="../slideLayouts/slideLayout29.xml"/><Relationship Id="rId4" Type="http://schemas.openxmlformats.org/officeDocument/2006/relationships/image" Target="../media/image291.png"/></Relationships>
</file>

<file path=ppt/slides/_rels/slide223.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24.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5.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7.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40.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18.xml"/><Relationship Id="rId1"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19.xml"/><Relationship Id="rId1" Type="http://schemas.openxmlformats.org/officeDocument/2006/relationships/slideLayout" Target="../slideLayouts/slideLayout18.xml"/></Relationships>
</file>

<file path=ppt/slides/_rels/slide242.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20.xml"/><Relationship Id="rId1" Type="http://schemas.openxmlformats.org/officeDocument/2006/relationships/slideLayout" Target="../slideLayouts/slideLayout18.xml"/></Relationships>
</file>

<file path=ppt/slides/_rels/slide243.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21.xml"/><Relationship Id="rId1" Type="http://schemas.openxmlformats.org/officeDocument/2006/relationships/slideLayout" Target="../slideLayouts/slideLayout18.xml"/></Relationships>
</file>

<file path=ppt/slides/_rels/slide244.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2.xml"/><Relationship Id="rId1" Type="http://schemas.openxmlformats.org/officeDocument/2006/relationships/slideLayout" Target="../slideLayouts/slideLayout18.xml"/></Relationships>
</file>

<file path=ppt/slides/_rels/slide245.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23.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24.xml"/><Relationship Id="rId1" Type="http://schemas.openxmlformats.org/officeDocument/2006/relationships/slideLayout" Target="../slideLayouts/slideLayout18.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8.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5.xml"/><Relationship Id="rId1" Type="http://schemas.openxmlformats.org/officeDocument/2006/relationships/slideLayout" Target="../slideLayouts/slideLayout18.xml"/></Relationships>
</file>

<file path=ppt/slides/_rels/slide249.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6.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50.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7.xml"/><Relationship Id="rId1" Type="http://schemas.openxmlformats.org/officeDocument/2006/relationships/slideLayout" Target="../slideLayouts/slideLayout18.xml"/><Relationship Id="rId4" Type="http://schemas.openxmlformats.org/officeDocument/2006/relationships/image" Target="../media/image317.png"/></Relationships>
</file>

<file path=ppt/slides/_rels/slide251.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8.xml"/><Relationship Id="rId1" Type="http://schemas.openxmlformats.org/officeDocument/2006/relationships/slideLayout" Target="../slideLayouts/slideLayout18.xml"/></Relationships>
</file>

<file path=ppt/slides/_rels/slide252.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29.xml"/><Relationship Id="rId1" Type="http://schemas.openxmlformats.org/officeDocument/2006/relationships/slideLayout" Target="../slideLayouts/slideLayout18.xml"/></Relationships>
</file>

<file path=ppt/slides/_rels/slide253.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30.xml"/><Relationship Id="rId1" Type="http://schemas.openxmlformats.org/officeDocument/2006/relationships/slideLayout" Target="../slideLayouts/slideLayout18.xml"/></Relationships>
</file>

<file path=ppt/slides/_rels/slide254.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31.xml"/><Relationship Id="rId1" Type="http://schemas.openxmlformats.org/officeDocument/2006/relationships/slideLayout" Target="../slideLayouts/slideLayout18.xml"/></Relationships>
</file>

<file path=ppt/slides/_rels/slide255.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25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57.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32.xml"/><Relationship Id="rId1" Type="http://schemas.openxmlformats.org/officeDocument/2006/relationships/slideLayout" Target="../slideLayouts/slideLayout18.xml"/></Relationships>
</file>

<file path=ppt/slides/_rels/slide258.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33.xml"/><Relationship Id="rId1" Type="http://schemas.openxmlformats.org/officeDocument/2006/relationships/slideLayout" Target="../slideLayouts/slideLayout18.xml"/></Relationships>
</file>

<file path=ppt/slides/_rels/slide259.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34.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35.xml"/><Relationship Id="rId1" Type="http://schemas.openxmlformats.org/officeDocument/2006/relationships/slideLayout" Target="../slideLayouts/slideLayout18.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236.xml"/><Relationship Id="rId1" Type="http://schemas.openxmlformats.org/officeDocument/2006/relationships/slideLayout" Target="../slideLayouts/slideLayout18.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237.xml"/><Relationship Id="rId1" Type="http://schemas.openxmlformats.org/officeDocument/2006/relationships/slideLayout" Target="../slideLayouts/slideLayout18.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18.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18.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18.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1.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41.xml"/><Relationship Id="rId1" Type="http://schemas.openxmlformats.org/officeDocument/2006/relationships/slideLayout" Target="../slideLayouts/slideLayout29.xml"/><Relationship Id="rId4" Type="http://schemas.openxmlformats.org/officeDocument/2006/relationships/image" Target="../media/image325.png"/></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3.xml.rels><?xml version="1.0" encoding="UTF-8" standalone="yes"?>
<Relationships xmlns="http://schemas.openxmlformats.org/package/2006/relationships"><Relationship Id="rId3" Type="http://schemas.openxmlformats.org/officeDocument/2006/relationships/hyperlink" Target="https://docs.microsoft.com/learn/browse/?products=power-platform" TargetMode="External"/><Relationship Id="rId7" Type="http://schemas.openxmlformats.org/officeDocument/2006/relationships/hyperlink" Target="https://youtu.be/rcrubFa8758" TargetMode="External"/><Relationship Id="rId2" Type="http://schemas.openxmlformats.org/officeDocument/2006/relationships/notesSlide" Target="../notesSlides/notesSlide242.xml"/><Relationship Id="rId1" Type="http://schemas.openxmlformats.org/officeDocument/2006/relationships/slideLayout" Target="../slideLayouts/slideLayout8.xml"/><Relationship Id="rId6" Type="http://schemas.openxmlformats.org/officeDocument/2006/relationships/hyperlink" Target="https://docs.microsoft.com/powerapps/maker/canvas-apps/add-scrolling-screen" TargetMode="External"/><Relationship Id="rId5" Type="http://schemas.openxmlformats.org/officeDocument/2006/relationships/hyperlink" Target="https://youtu.be/swpjfIyXCNA" TargetMode="External"/><Relationship Id="rId4" Type="http://schemas.openxmlformats.org/officeDocument/2006/relationships/hyperlink" Target="https://docs.microsoft.com/power-platform/admin/pricing-billing-skus" TargetMode="External"/></Relationships>
</file>

<file path=ppt/slides/_rels/slide274.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275.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43.xml"/><Relationship Id="rId1" Type="http://schemas.openxmlformats.org/officeDocument/2006/relationships/slideLayout" Target="../slideLayouts/slideLayout29.xml"/><Relationship Id="rId4" Type="http://schemas.openxmlformats.org/officeDocument/2006/relationships/image" Target="../media/image326.png"/></Relationships>
</file>

<file path=ppt/slides/_rels/slide276.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44.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9.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hyperlink" Target="mailto:hiram@fleitasarts.com?subject=Power%20Platform%20-%20Game%20Changer" TargetMode="External"/><Relationship Id="rId3" Type="http://schemas.microsoft.com/office/2007/relationships/hdphoto" Target="../media/hdphoto2.wdp"/><Relationship Id="rId7" Type="http://schemas.openxmlformats.org/officeDocument/2006/relationships/image" Target="../media/image33.png"/><Relationship Id="rId12" Type="http://schemas.openxmlformats.org/officeDocument/2006/relationships/hyperlink" Target="https://linkedin.com/in/hiramfleitas" TargetMode="External"/><Relationship Id="rId2" Type="http://schemas.openxmlformats.org/officeDocument/2006/relationships/image" Target="../media/image28.png"/><Relationship Id="rId1" Type="http://schemas.openxmlformats.org/officeDocument/2006/relationships/slideLayout" Target="../slideLayouts/slideLayout20.xml"/><Relationship Id="rId6" Type="http://schemas.openxmlformats.org/officeDocument/2006/relationships/image" Target="../media/image32.png"/><Relationship Id="rId11" Type="http://schemas.openxmlformats.org/officeDocument/2006/relationships/hyperlink" Target="http://fleitasarts.com/" TargetMode="External"/><Relationship Id="rId5" Type="http://schemas.openxmlformats.org/officeDocument/2006/relationships/image" Target="../media/image31.png"/><Relationship Id="rId10" Type="http://schemas.openxmlformats.org/officeDocument/2006/relationships/image" Target="../media/image35.png"/><Relationship Id="rId4" Type="http://schemas.openxmlformats.org/officeDocument/2006/relationships/hyperlink" Target="https://twitter.com/hiramfleitas" TargetMode="External"/><Relationship Id="rId9" Type="http://schemas.openxmlformats.org/officeDocument/2006/relationships/hyperlink" Target="https://github.com/hfleitas" TargetMode="External"/><Relationship Id="rId14" Type="http://schemas.openxmlformats.org/officeDocument/2006/relationships/image" Target="../media/image1.png"/></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6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6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120.png"/></Relationships>
</file>

<file path=ppt/slides/_rels/slide6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7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8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2D7E32-08D5-4632-A7F6-54562D81A04D}"/>
              </a:ext>
            </a:extLst>
          </p:cNvPr>
          <p:cNvPicPr>
            <a:picLocks noChangeAspect="1"/>
          </p:cNvPicPr>
          <p:nvPr/>
        </p:nvPicPr>
        <p:blipFill>
          <a:blip r:embed="rId3"/>
          <a:stretch>
            <a:fillRect/>
          </a:stretch>
        </p:blipFill>
        <p:spPr>
          <a:xfrm>
            <a:off x="0" y="2225"/>
            <a:ext cx="9144000" cy="5139049"/>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199745" y="4090601"/>
            <a:ext cx="5907090" cy="323165"/>
          </a:xfrm>
          <a:prstGeom prst="rect">
            <a:avLst/>
          </a:prstGeom>
        </p:spPr>
        <p:txBody>
          <a:bodyPr wrap="squar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_(V2)'</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4153290" y="2571750"/>
            <a:ext cx="2792259" cy="151885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901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8BA7D2-51A2-4275-BC83-6ECB7101EDD1}"/>
              </a:ext>
            </a:extLst>
          </p:cNvPr>
          <p:cNvPicPr>
            <a:picLocks noChangeAspect="1"/>
          </p:cNvPicPr>
          <p:nvPr/>
        </p:nvPicPr>
        <p:blipFill>
          <a:blip r:embed="rId3"/>
          <a:stretch>
            <a:fillRect/>
          </a:stretch>
        </p:blipFill>
        <p:spPr>
          <a:xfrm>
            <a:off x="0" y="2225"/>
            <a:ext cx="9144000" cy="5139049"/>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373247" y="3222694"/>
            <a:ext cx="3546362"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38054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11285" y="2409477"/>
            <a:ext cx="4630366" cy="2106864"/>
          </a:xfrm>
          <a:prstGeom prst="rect">
            <a:avLst/>
          </a:prstGeom>
        </p:spPr>
        <p:txBody>
          <a:bodyPr/>
          <a:lstStyle/>
          <a:p>
            <a:r>
              <a:rPr lang="en-US" dirty="0"/>
              <a:t>Forms – Ai builder</a:t>
            </a:r>
            <a:br>
              <a:rPr lang="en-US" dirty="0"/>
            </a:br>
            <a:r>
              <a:rPr lang="en-US" dirty="0"/>
              <a:t>(DEMO 7)</a:t>
            </a:r>
            <a:endParaRPr lang="en-US" sz="3600" dirty="0"/>
          </a:p>
        </p:txBody>
      </p:sp>
    </p:spTree>
    <p:extLst>
      <p:ext uri="{BB962C8B-B14F-4D97-AF65-F5344CB8AC3E}">
        <p14:creationId xmlns:p14="http://schemas.microsoft.com/office/powerpoint/2010/main" val="313343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1F9B73-2F91-4C25-AF4A-6CEFAE69FC10}"/>
              </a:ext>
            </a:extLst>
          </p:cNvPr>
          <p:cNvPicPr>
            <a:picLocks noChangeAspect="1"/>
          </p:cNvPicPr>
          <p:nvPr/>
        </p:nvPicPr>
        <p:blipFill>
          <a:blip r:embed="rId3"/>
          <a:stretch>
            <a:fillRect/>
          </a:stretch>
        </p:blipFill>
        <p:spPr>
          <a:xfrm>
            <a:off x="3122253" y="0"/>
            <a:ext cx="2899493" cy="5143500"/>
          </a:xfrm>
          <a:prstGeom prst="rect">
            <a:avLst/>
          </a:prstGeom>
        </p:spPr>
      </p:pic>
    </p:spTree>
    <p:extLst>
      <p:ext uri="{BB962C8B-B14F-4D97-AF65-F5344CB8AC3E}">
        <p14:creationId xmlns:p14="http://schemas.microsoft.com/office/powerpoint/2010/main" val="1231843197"/>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spTree>
    <p:extLst>
      <p:ext uri="{BB962C8B-B14F-4D97-AF65-F5344CB8AC3E}">
        <p14:creationId xmlns:p14="http://schemas.microsoft.com/office/powerpoint/2010/main" val="16381220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pic>
        <p:nvPicPr>
          <p:cNvPr id="4" name="Picture 3">
            <a:extLst>
              <a:ext uri="{FF2B5EF4-FFF2-40B4-BE49-F238E27FC236}">
                <a16:creationId xmlns:a16="http://schemas.microsoft.com/office/drawing/2014/main" id="{556EF035-8B79-47F6-9041-8BAA172711FB}"/>
              </a:ext>
            </a:extLst>
          </p:cNvPr>
          <p:cNvPicPr>
            <a:picLocks noChangeAspect="1"/>
          </p:cNvPicPr>
          <p:nvPr/>
        </p:nvPicPr>
        <p:blipFill>
          <a:blip r:embed="rId4"/>
          <a:stretch>
            <a:fillRect/>
          </a:stretch>
        </p:blipFill>
        <p:spPr>
          <a:xfrm>
            <a:off x="0" y="1284589"/>
            <a:ext cx="6504562" cy="2191066"/>
          </a:xfrm>
          <a:prstGeom prst="rect">
            <a:avLst/>
          </a:prstGeom>
        </p:spPr>
      </p:pic>
    </p:spTree>
    <p:extLst>
      <p:ext uri="{BB962C8B-B14F-4D97-AF65-F5344CB8AC3E}">
        <p14:creationId xmlns:p14="http://schemas.microsoft.com/office/powerpoint/2010/main" val="4603851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65694629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F0D9B1-3CE7-4EC9-9C6A-2A3AB6938D06}"/>
              </a:ext>
            </a:extLst>
          </p:cNvPr>
          <p:cNvPicPr>
            <a:picLocks noChangeAspect="1"/>
          </p:cNvPicPr>
          <p:nvPr/>
        </p:nvPicPr>
        <p:blipFill>
          <a:blip r:embed="rId3"/>
          <a:stretch>
            <a:fillRect/>
          </a:stretch>
        </p:blipFill>
        <p:spPr>
          <a:xfrm>
            <a:off x="3114280" y="0"/>
            <a:ext cx="2915440" cy="5143500"/>
          </a:xfrm>
          <a:prstGeom prst="rect">
            <a:avLst/>
          </a:prstGeom>
        </p:spPr>
      </p:pic>
    </p:spTree>
    <p:extLst>
      <p:ext uri="{BB962C8B-B14F-4D97-AF65-F5344CB8AC3E}">
        <p14:creationId xmlns:p14="http://schemas.microsoft.com/office/powerpoint/2010/main" val="327392511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56045190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C9DA5-7A8A-48DC-B9A1-CFC69A56BA45}"/>
              </a:ext>
            </a:extLst>
          </p:cNvPr>
          <p:cNvPicPr>
            <a:picLocks noChangeAspect="1"/>
          </p:cNvPicPr>
          <p:nvPr/>
        </p:nvPicPr>
        <p:blipFill>
          <a:blip r:embed="rId3"/>
          <a:stretch>
            <a:fillRect/>
          </a:stretch>
        </p:blipFill>
        <p:spPr>
          <a:xfrm>
            <a:off x="3124835" y="0"/>
            <a:ext cx="2894329" cy="5143500"/>
          </a:xfrm>
          <a:prstGeom prst="rect">
            <a:avLst/>
          </a:prstGeom>
        </p:spPr>
      </p:pic>
    </p:spTree>
    <p:extLst>
      <p:ext uri="{BB962C8B-B14F-4D97-AF65-F5344CB8AC3E}">
        <p14:creationId xmlns:p14="http://schemas.microsoft.com/office/powerpoint/2010/main" val="286652150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160049564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164264205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7E3531-1EA0-4202-B02F-7BC97F98BF36}"/>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61370557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BCBFFC-7544-4A1C-B6A0-DA0A7B2DA646}"/>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5855353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5A3C1C-9C45-49BB-868C-0C226FF6145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90545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RLS</a:t>
            </a:r>
            <a:br>
              <a:rPr lang="en-US" dirty="0"/>
            </a:br>
            <a:r>
              <a:rPr lang="en-US" dirty="0"/>
              <a:t>(DEMO 7)</a:t>
            </a:r>
            <a:endParaRPr lang="en-US" sz="3600" dirty="0"/>
          </a:p>
        </p:txBody>
      </p:sp>
    </p:spTree>
    <p:extLst>
      <p:ext uri="{BB962C8B-B14F-4D97-AF65-F5344CB8AC3E}">
        <p14:creationId xmlns:p14="http://schemas.microsoft.com/office/powerpoint/2010/main" val="132831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5121217"/>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968200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306687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309916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683150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033636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Approvals</a:t>
            </a:r>
            <a:br>
              <a:rPr lang="en-US" dirty="0"/>
            </a:br>
            <a:r>
              <a:rPr lang="en-US" dirty="0"/>
              <a:t>(DEMO 9)</a:t>
            </a:r>
            <a:endParaRPr lang="en-US" sz="3600" dirty="0"/>
          </a:p>
        </p:txBody>
      </p:sp>
    </p:spTree>
    <p:extLst>
      <p:ext uri="{BB962C8B-B14F-4D97-AF65-F5344CB8AC3E}">
        <p14:creationId xmlns:p14="http://schemas.microsoft.com/office/powerpoint/2010/main" val="23384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74049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International Space Station</a:t>
            </a:r>
            <a:br>
              <a:rPr lang="en-US" dirty="0"/>
            </a:br>
            <a:r>
              <a:rPr lang="en-US" dirty="0"/>
              <a:t>(DEMO 10)</a:t>
            </a:r>
            <a:endParaRPr lang="en-US" sz="3600" dirty="0"/>
          </a:p>
        </p:txBody>
      </p:sp>
    </p:spTree>
    <p:extLst>
      <p:ext uri="{BB962C8B-B14F-4D97-AF65-F5344CB8AC3E}">
        <p14:creationId xmlns:p14="http://schemas.microsoft.com/office/powerpoint/2010/main" val="237211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35866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Summary</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endParaRPr lang="en-US" i="1" dirty="0">
              <a:solidFill>
                <a:schemeClr val="accent1"/>
              </a:solidFill>
            </a:endParaRPr>
          </a:p>
          <a:p>
            <a:r>
              <a:rPr lang="en-US" dirty="0"/>
              <a:t>Azure Data Studio Notebook</a:t>
            </a:r>
            <a:endParaRPr lang="en-US" i="1" dirty="0">
              <a:solidFill>
                <a:schemeClr val="accent1"/>
              </a:solidFill>
            </a:endParaRP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3860545639"/>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fleitasarts.com</a:t>
            </a:r>
          </a:p>
          <a:p>
            <a:r>
              <a:rPr lang="en-US" dirty="0"/>
              <a:t>github.com/hfleitas/seattle19</a:t>
            </a:r>
          </a:p>
          <a:p>
            <a:r>
              <a:rPr lang="en-US" dirty="0">
                <a:hlinkClick r:id="rId3"/>
              </a:rPr>
              <a:t>Microsoft Learn</a:t>
            </a:r>
            <a:endParaRPr lang="en-US" dirty="0"/>
          </a:p>
          <a:p>
            <a:r>
              <a:rPr lang="en-US" dirty="0">
                <a:hlinkClick r:id="rId4"/>
              </a:rPr>
              <a:t>Pricing</a:t>
            </a:r>
            <a:endParaRPr lang="en-US" dirty="0"/>
          </a:p>
          <a:p>
            <a:r>
              <a:rPr lang="en-US" dirty="0">
                <a:hlinkClick r:id="rId5"/>
              </a:rPr>
              <a:t>Integrating Bing Maps with GPS</a:t>
            </a:r>
            <a:endParaRPr lang="en-US" dirty="0"/>
          </a:p>
          <a:p>
            <a:r>
              <a:rPr lang="en-US" dirty="0">
                <a:hlinkClick r:id="rId6"/>
              </a:rPr>
              <a:t>Scrolling Screen</a:t>
            </a:r>
            <a:endParaRPr lang="en-US" dirty="0"/>
          </a:p>
          <a:p>
            <a:r>
              <a:rPr lang="en-US" dirty="0">
                <a:hlinkClick r:id="rId7"/>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05355405"/>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9CECAF43-48C4-0A45-BA1C-1DB2CCE8339E}"/>
              </a:ext>
            </a:extLst>
          </p:cNvPr>
          <p:cNvGrpSpPr/>
          <p:nvPr/>
        </p:nvGrpSpPr>
        <p:grpSpPr>
          <a:xfrm>
            <a:off x="4684877" y="3385803"/>
            <a:ext cx="229600" cy="229600"/>
            <a:chOff x="470537" y="3886355"/>
            <a:chExt cx="229600" cy="229600"/>
          </a:xfrm>
        </p:grpSpPr>
        <p:sp>
          <p:nvSpPr>
            <p:cNvPr id="16" name="Rounded Rectangle 15">
              <a:extLst>
                <a:ext uri="{FF2B5EF4-FFF2-40B4-BE49-F238E27FC236}">
                  <a16:creationId xmlns:a16="http://schemas.microsoft.com/office/drawing/2014/main" id="{15FDFFB0-027F-834B-B054-43BC065364B9}"/>
                </a:ext>
              </a:extLst>
            </p:cNvPr>
            <p:cNvSpPr/>
            <p:nvPr/>
          </p:nvSpPr>
          <p:spPr>
            <a:xfrm>
              <a:off x="470537" y="3886355"/>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383">
              <a:extLst>
                <a:ext uri="{FF2B5EF4-FFF2-40B4-BE49-F238E27FC236}">
                  <a16:creationId xmlns:a16="http://schemas.microsoft.com/office/drawing/2014/main" id="{EBB4F328-8808-8C48-BBF3-5B476AAAB175}"/>
                </a:ext>
              </a:extLst>
            </p:cNvPr>
            <p:cNvSpPr>
              <a:spLocks/>
            </p:cNvSpPr>
            <p:nvPr/>
          </p:nvSpPr>
          <p:spPr bwMode="auto">
            <a:xfrm>
              <a:off x="537770" y="3958471"/>
              <a:ext cx="103392" cy="89503"/>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solidFill>
            <a:ln>
              <a:noFill/>
            </a:ln>
          </p:spPr>
          <p:txBody>
            <a:bodyPr/>
            <a:lstStyle/>
            <a:p>
              <a:endParaRPr lang="en-US" dirty="0"/>
            </a:p>
          </p:txBody>
        </p:sp>
      </p:grpSp>
      <p:sp>
        <p:nvSpPr>
          <p:cNvPr id="19" name="Rounded Rectangle 18">
            <a:extLst>
              <a:ext uri="{FF2B5EF4-FFF2-40B4-BE49-F238E27FC236}">
                <a16:creationId xmlns:a16="http://schemas.microsoft.com/office/drawing/2014/main" id="{246F2AB0-A4A3-5245-84A5-BD6CC0E14FF1}"/>
              </a:ext>
            </a:extLst>
          </p:cNvPr>
          <p:cNvSpPr/>
          <p:nvPr/>
        </p:nvSpPr>
        <p:spPr>
          <a:xfrm>
            <a:off x="4684877" y="3786636"/>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A5568A34-A85F-654A-ACA2-D2DB1176EAFF}"/>
              </a:ext>
            </a:extLst>
          </p:cNvPr>
          <p:cNvGrpSpPr/>
          <p:nvPr/>
        </p:nvGrpSpPr>
        <p:grpSpPr>
          <a:xfrm>
            <a:off x="4745450" y="3858202"/>
            <a:ext cx="116315" cy="86468"/>
            <a:chOff x="797870" y="1445676"/>
            <a:chExt cx="2282964" cy="1697143"/>
          </a:xfrm>
        </p:grpSpPr>
        <p:sp>
          <p:nvSpPr>
            <p:cNvPr id="26" name="Freeform 25">
              <a:extLst>
                <a:ext uri="{FF2B5EF4-FFF2-40B4-BE49-F238E27FC236}">
                  <a16:creationId xmlns:a16="http://schemas.microsoft.com/office/drawing/2014/main" id="{1DB65697-1E7E-5F44-8A7C-F1117D4EFDD0}"/>
                </a:ext>
              </a:extLst>
            </p:cNvPr>
            <p:cNvSpPr/>
            <p:nvPr/>
          </p:nvSpPr>
          <p:spPr>
            <a:xfrm>
              <a:off x="927238" y="1445676"/>
              <a:ext cx="2016618" cy="845721"/>
            </a:xfrm>
            <a:custGeom>
              <a:avLst/>
              <a:gdLst>
                <a:gd name="connsiteX0" fmla="*/ 1007358 w 2016618"/>
                <a:gd name="connsiteY0" fmla="*/ 848572 h 845720"/>
                <a:gd name="connsiteX1" fmla="*/ 2022326 w 2016618"/>
                <a:gd name="connsiteY1" fmla="*/ 32308 h 845720"/>
                <a:gd name="connsiteX2" fmla="*/ 1898665 w 2016618"/>
                <a:gd name="connsiteY2" fmla="*/ 0 h 845720"/>
                <a:gd name="connsiteX3" fmla="*/ 124612 w 2016618"/>
                <a:gd name="connsiteY3" fmla="*/ 0 h 845720"/>
                <a:gd name="connsiteX4" fmla="*/ 0 w 2016618"/>
                <a:gd name="connsiteY4" fmla="*/ 32308 h 845720"/>
                <a:gd name="connsiteX5" fmla="*/ 1007358 w 2016618"/>
                <a:gd name="connsiteY5" fmla="*/ 848572 h 8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6618" h="845720">
                  <a:moveTo>
                    <a:pt x="1007358" y="848572"/>
                  </a:moveTo>
                  <a:lnTo>
                    <a:pt x="2022326" y="32308"/>
                  </a:lnTo>
                  <a:cubicBezTo>
                    <a:pt x="1985228" y="12353"/>
                    <a:pt x="1943373" y="0"/>
                    <a:pt x="1898665" y="0"/>
                  </a:cubicBezTo>
                  <a:lnTo>
                    <a:pt x="124612" y="0"/>
                  </a:lnTo>
                  <a:cubicBezTo>
                    <a:pt x="78953" y="0"/>
                    <a:pt x="37098" y="11403"/>
                    <a:pt x="0" y="32308"/>
                  </a:cubicBezTo>
                  <a:lnTo>
                    <a:pt x="1007358" y="848572"/>
                  </a:lnTo>
                  <a:close/>
                </a:path>
              </a:pathLst>
            </a:custGeom>
            <a:solidFill>
              <a:srgbClr val="FFFFFF"/>
            </a:solidFill>
            <a:ln w="9506"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918F708E-7265-054E-926E-CE4F7191C937}"/>
                </a:ext>
              </a:extLst>
            </p:cNvPr>
            <p:cNvSpPr/>
            <p:nvPr/>
          </p:nvSpPr>
          <p:spPr>
            <a:xfrm>
              <a:off x="797870" y="1688939"/>
              <a:ext cx="2282964" cy="1453880"/>
            </a:xfrm>
            <a:custGeom>
              <a:avLst/>
              <a:gdLst>
                <a:gd name="connsiteX0" fmla="*/ 1135775 w 2282964"/>
                <a:gd name="connsiteY0" fmla="*/ 922691 h 1453879"/>
                <a:gd name="connsiteX1" fmla="*/ 0 w 2282964"/>
                <a:gd name="connsiteY1" fmla="*/ 950 h 1453879"/>
                <a:gd name="connsiteX2" fmla="*/ 0 w 2282964"/>
                <a:gd name="connsiteY2" fmla="*/ 10453 h 1453879"/>
                <a:gd name="connsiteX3" fmla="*/ 0 w 2282964"/>
                <a:gd name="connsiteY3" fmla="*/ 1203014 h 1453879"/>
                <a:gd name="connsiteX4" fmla="*/ 254931 w 2282964"/>
                <a:gd name="connsiteY4" fmla="*/ 1457681 h 1453879"/>
                <a:gd name="connsiteX5" fmla="*/ 2028984 w 2282964"/>
                <a:gd name="connsiteY5" fmla="*/ 1457681 h 1453879"/>
                <a:gd name="connsiteX6" fmla="*/ 2283915 w 2282964"/>
                <a:gd name="connsiteY6" fmla="*/ 1203014 h 1453879"/>
                <a:gd name="connsiteX7" fmla="*/ 2283915 w 2282964"/>
                <a:gd name="connsiteY7" fmla="*/ 10453 h 1453879"/>
                <a:gd name="connsiteX8" fmla="*/ 2283915 w 2282964"/>
                <a:gd name="connsiteY8" fmla="*/ 0 h 1453879"/>
                <a:gd name="connsiteX9" fmla="*/ 1135775 w 2282964"/>
                <a:gd name="connsiteY9" fmla="*/ 922691 h 145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2964" h="1453879">
                  <a:moveTo>
                    <a:pt x="1135775" y="922691"/>
                  </a:moveTo>
                  <a:lnTo>
                    <a:pt x="0" y="950"/>
                  </a:lnTo>
                  <a:cubicBezTo>
                    <a:pt x="0" y="3801"/>
                    <a:pt x="0" y="6652"/>
                    <a:pt x="0" y="10453"/>
                  </a:cubicBezTo>
                  <a:lnTo>
                    <a:pt x="0" y="1203014"/>
                  </a:lnTo>
                  <a:cubicBezTo>
                    <a:pt x="0" y="1343651"/>
                    <a:pt x="114148" y="1457681"/>
                    <a:pt x="254931" y="1457681"/>
                  </a:cubicBezTo>
                  <a:lnTo>
                    <a:pt x="2028984" y="1457681"/>
                  </a:lnTo>
                  <a:cubicBezTo>
                    <a:pt x="2169767" y="1457681"/>
                    <a:pt x="2283915" y="1343651"/>
                    <a:pt x="2283915" y="1203014"/>
                  </a:cubicBezTo>
                  <a:lnTo>
                    <a:pt x="2283915" y="10453"/>
                  </a:lnTo>
                  <a:cubicBezTo>
                    <a:pt x="2283915" y="6652"/>
                    <a:pt x="2283915" y="3801"/>
                    <a:pt x="2283915" y="0"/>
                  </a:cubicBezTo>
                  <a:lnTo>
                    <a:pt x="1135775" y="922691"/>
                  </a:lnTo>
                  <a:close/>
                </a:path>
              </a:pathLst>
            </a:custGeom>
            <a:solidFill>
              <a:srgbClr val="FFFFFF"/>
            </a:solidFill>
            <a:ln w="9506" cap="flat">
              <a:noFill/>
              <a:prstDash val="solid"/>
              <a:miter/>
            </a:ln>
          </p:spPr>
          <p:txBody>
            <a:bodyPr rtlCol="0" anchor="ctr"/>
            <a:lstStyle/>
            <a:p>
              <a:endParaRPr lang="en-US" dirty="0"/>
            </a:p>
          </p:txBody>
        </p:sp>
      </p:grpSp>
      <p:sp>
        <p:nvSpPr>
          <p:cNvPr id="38" name="Title 37">
            <a:extLst>
              <a:ext uri="{FF2B5EF4-FFF2-40B4-BE49-F238E27FC236}">
                <a16:creationId xmlns:a16="http://schemas.microsoft.com/office/drawing/2014/main" id="{E7E6B5D7-DBDB-9F46-8E00-B16786079CCD}"/>
              </a:ext>
            </a:extLst>
          </p:cNvPr>
          <p:cNvSpPr>
            <a:spLocks noGrp="1"/>
          </p:cNvSpPr>
          <p:nvPr>
            <p:ph type="title"/>
          </p:nvPr>
        </p:nvSpPr>
        <p:spPr/>
        <p:txBody>
          <a:bodyPr/>
          <a:lstStyle/>
          <a:p>
            <a:r>
              <a:rPr lang="en-US" dirty="0"/>
              <a:t>Hiram Fleitas</a:t>
            </a:r>
          </a:p>
        </p:txBody>
      </p:sp>
      <p:sp>
        <p:nvSpPr>
          <p:cNvPr id="39" name="Text Placeholder 38">
            <a:extLst>
              <a:ext uri="{FF2B5EF4-FFF2-40B4-BE49-F238E27FC236}">
                <a16:creationId xmlns:a16="http://schemas.microsoft.com/office/drawing/2014/main" id="{5A6C08EA-16BD-C64D-AF6B-ADD733BCABC1}"/>
              </a:ext>
            </a:extLst>
          </p:cNvPr>
          <p:cNvSpPr>
            <a:spLocks noGrp="1"/>
          </p:cNvSpPr>
          <p:nvPr>
            <p:ph type="body" sz="quarter" idx="13"/>
          </p:nvPr>
        </p:nvSpPr>
        <p:spPr/>
        <p:txBody>
          <a:bodyPr/>
          <a:lstStyle/>
          <a:p>
            <a:r>
              <a:rPr lang="en-US" dirty="0"/>
              <a:t>@hiramfleitas</a:t>
            </a:r>
          </a:p>
          <a:p>
            <a:r>
              <a:rPr lang="en-US" dirty="0"/>
              <a:t>hiram@fleitasarts.com</a:t>
            </a:r>
          </a:p>
        </p:txBody>
      </p:sp>
    </p:spTree>
    <p:extLst>
      <p:ext uri="{BB962C8B-B14F-4D97-AF65-F5344CB8AC3E}">
        <p14:creationId xmlns:p14="http://schemas.microsoft.com/office/powerpoint/2010/main" val="304172069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Parallelogram 1">
            <a:extLst>
              <a:ext uri="{FF2B5EF4-FFF2-40B4-BE49-F238E27FC236}">
                <a16:creationId xmlns:a16="http://schemas.microsoft.com/office/drawing/2014/main" id="{90B8AFF8-4783-4317-81AB-046C98845385}"/>
              </a:ext>
            </a:extLst>
          </p:cNvPr>
          <p:cNvSpPr/>
          <p:nvPr/>
        </p:nvSpPr>
        <p:spPr>
          <a:xfrm>
            <a:off x="4214586" y="-25134"/>
            <a:ext cx="2215540"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4" name="Parallelogram 1">
            <a:extLst>
              <a:ext uri="{FF2B5EF4-FFF2-40B4-BE49-F238E27FC236}">
                <a16:creationId xmlns:a16="http://schemas.microsoft.com/office/drawing/2014/main" id="{648E8FD3-DED6-481D-8F28-BFC25F1691EB}"/>
              </a:ext>
            </a:extLst>
          </p:cNvPr>
          <p:cNvSpPr/>
          <p:nvPr/>
        </p:nvSpPr>
        <p:spPr>
          <a:xfrm>
            <a:off x="4344215" y="-27081"/>
            <a:ext cx="2215539"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alpha val="50000"/>
            </a:sys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5" name="TextBox 24">
            <a:extLst>
              <a:ext uri="{FF2B5EF4-FFF2-40B4-BE49-F238E27FC236}">
                <a16:creationId xmlns:a16="http://schemas.microsoft.com/office/drawing/2014/main" id="{8C179932-F48D-445A-96D0-753B01445664}"/>
              </a:ext>
            </a:extLst>
          </p:cNvPr>
          <p:cNvSpPr txBox="1"/>
          <p:nvPr/>
        </p:nvSpPr>
        <p:spPr>
          <a:xfrm>
            <a:off x="6096000" y="1775307"/>
            <a:ext cx="2947600" cy="1827058"/>
          </a:xfrm>
          <a:prstGeom prst="rect">
            <a:avLst/>
          </a:prstGeom>
        </p:spPr>
        <p:txBody>
          <a:bodyPr vert="horz" lIns="68580" tIns="34290" rIns="68580" bIns="3429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defTabSz="342900" eaLnBrk="1" fontAlgn="auto" latinLnBrk="0" hangingPunct="1">
              <a:lnSpc>
                <a:spcPct val="90000"/>
              </a:lnSpc>
              <a:spcBef>
                <a:spcPct val="0"/>
              </a:spcBef>
              <a:spcAft>
                <a:spcPts val="0"/>
              </a:spcAft>
              <a:buClrTx/>
              <a:buSzTx/>
              <a:buFontTx/>
              <a:buNone/>
              <a:tabLst>
                <a:tab pos="4338530" algn="l"/>
              </a:tabLst>
              <a:defRPr/>
            </a:pPr>
            <a:r>
              <a:rPr kumimoji="0" lang="en-US" sz="6600" b="0" i="0" u="none" strike="noStrike" kern="0" cap="none" spc="0" normalizeH="0" baseline="0" noProof="0" dirty="0">
                <a:ln>
                  <a:noFill/>
                </a:ln>
                <a:solidFill>
                  <a:srgbClr val="FFFFFF"/>
                </a:solidFill>
                <a:effectLst/>
                <a:uLnTx/>
                <a:uFillTx/>
                <a:latin typeface="Segoe UI Light" charset="0"/>
                <a:cs typeface="Segoe UI Light" charset="0"/>
              </a:rPr>
              <a:t>Thank You</a:t>
            </a:r>
            <a:endParaRPr kumimoji="0" lang="en-US" sz="2700" b="0"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pic>
        <p:nvPicPr>
          <p:cNvPr id="26" name="Picture 25">
            <a:extLst>
              <a:ext uri="{FF2B5EF4-FFF2-40B4-BE49-F238E27FC236}">
                <a16:creationId xmlns:a16="http://schemas.microsoft.com/office/drawing/2014/main" id="{2A54EE31-E585-4CAE-AA8E-E7E2F3A5925C}"/>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5900"/>
                    </a14:imgEffect>
                  </a14:imgLayer>
                </a14:imgProps>
              </a:ext>
            </a:extLst>
          </a:blip>
          <a:srcRect l="9309"/>
          <a:stretch/>
        </p:blipFill>
        <p:spPr>
          <a:xfrm>
            <a:off x="0" y="1425723"/>
            <a:ext cx="2528768" cy="3717777"/>
          </a:xfrm>
          <a:prstGeom prst="rect">
            <a:avLst/>
          </a:prstGeom>
        </p:spPr>
      </p:pic>
      <p:sp>
        <p:nvSpPr>
          <p:cNvPr id="27" name="Parallelogram 1">
            <a:extLst>
              <a:ext uri="{FF2B5EF4-FFF2-40B4-BE49-F238E27FC236}">
                <a16:creationId xmlns:a16="http://schemas.microsoft.com/office/drawing/2014/main" id="{101D9EBD-410A-43C5-8DFE-F3B5E2E1B1D5}"/>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43" name="Text Placeholder 9">
            <a:extLst>
              <a:ext uri="{FF2B5EF4-FFF2-40B4-BE49-F238E27FC236}">
                <a16:creationId xmlns:a16="http://schemas.microsoft.com/office/drawing/2014/main" id="{3DB415B2-C9BC-4F7E-A529-2F07A23EC7F6}"/>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sz="3600" dirty="0">
                <a:solidFill>
                  <a:prstClr val="black"/>
                </a:solidFill>
                <a:latin typeface="Segoe UI Semibold" panose="020B0702040204020203" pitchFamily="34" charset="0"/>
                <a:cs typeface="Segoe UI Semibold" panose="020B0702040204020203" pitchFamily="34" charset="0"/>
              </a:rPr>
              <a:t>Hiram Fleitas</a:t>
            </a:r>
            <a:endParaRPr lang="en-US" sz="3600" dirty="0">
              <a:solidFill>
                <a:prstClr val="black"/>
              </a:solidFill>
              <a:latin typeface="Segoe UI Semibold" panose="020B0702040204020203" pitchFamily="34" charset="0"/>
              <a:cs typeface="Segoe UI Semibold" panose="020B0702040204020203" pitchFamily="34" charset="0"/>
            </a:endParaRPr>
          </a:p>
          <a:p>
            <a:pPr defTabSz="457189">
              <a:defRPr/>
            </a:pPr>
            <a:r>
              <a:rPr lang="en-US" sz="2200" dirty="0">
                <a:solidFill>
                  <a:srgbClr val="B8232F"/>
                </a:solidFill>
                <a:latin typeface="Segoe UI Semibold" panose="020B0702040204020203" pitchFamily="34" charset="0"/>
                <a:cs typeface="Segoe UI Semibold" panose="020B0702040204020203" pitchFamily="34" charset="0"/>
              </a:rPr>
              <a:t>Universal Insurance Holdings</a:t>
            </a:r>
          </a:p>
        </p:txBody>
      </p:sp>
      <p:sp>
        <p:nvSpPr>
          <p:cNvPr id="47" name="Text Placeholder 9">
            <a:hlinkClick r:id="rId4"/>
            <a:extLst>
              <a:ext uri="{FF2B5EF4-FFF2-40B4-BE49-F238E27FC236}">
                <a16:creationId xmlns:a16="http://schemas.microsoft.com/office/drawing/2014/main" id="{5CD6C013-4D97-45E3-8F07-F5BDA61AF6CC}"/>
              </a:ext>
            </a:extLst>
          </p:cNvPr>
          <p:cNvSpPr txBox="1">
            <a:spLocks/>
          </p:cNvSpPr>
          <p:nvPr/>
        </p:nvSpPr>
        <p:spPr>
          <a:xfrm>
            <a:off x="2898115" y="1753989"/>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48" name="Picture 2" descr="Image result for twitter logo">
            <a:hlinkClick r:id="rId4"/>
            <a:extLst>
              <a:ext uri="{FF2B5EF4-FFF2-40B4-BE49-F238E27FC236}">
                <a16:creationId xmlns:a16="http://schemas.microsoft.com/office/drawing/2014/main" id="{4F0CAA02-E460-4A9E-BB1C-B6B82F1A429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98118" y="175398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linkedin logo">
            <a:extLst>
              <a:ext uri="{FF2B5EF4-FFF2-40B4-BE49-F238E27FC236}">
                <a16:creationId xmlns:a16="http://schemas.microsoft.com/office/drawing/2014/main" id="{C41FFEDB-A357-4213-B3F6-E724F5C1D7A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88449" y="3769678"/>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close up of a logo&#10;&#10;Description generated with very high confidence">
            <a:extLst>
              <a:ext uri="{FF2B5EF4-FFF2-40B4-BE49-F238E27FC236}">
                <a16:creationId xmlns:a16="http://schemas.microsoft.com/office/drawing/2014/main" id="{CFE7F193-EB2E-40EA-9774-027E0232464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91593" y="3265881"/>
            <a:ext cx="306362" cy="306362"/>
          </a:xfrm>
          <a:prstGeom prst="rect">
            <a:avLst/>
          </a:prstGeom>
        </p:spPr>
      </p:pic>
      <p:pic>
        <p:nvPicPr>
          <p:cNvPr id="51" name="Picture 14" descr="Image result for wordpress logo">
            <a:extLst>
              <a:ext uri="{FF2B5EF4-FFF2-40B4-BE49-F238E27FC236}">
                <a16:creationId xmlns:a16="http://schemas.microsoft.com/office/drawing/2014/main" id="{2A57EA1B-4577-4D65-9FA6-081B30C6DF5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96019" y="2771438"/>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52" name="Text Placeholder 9">
            <a:hlinkClick r:id="rId9"/>
            <a:extLst>
              <a:ext uri="{FF2B5EF4-FFF2-40B4-BE49-F238E27FC236}">
                <a16:creationId xmlns:a16="http://schemas.microsoft.com/office/drawing/2014/main" id="{027EA7D1-4CC3-428C-A4E6-A2A95BD829CB}"/>
              </a:ext>
            </a:extLst>
          </p:cNvPr>
          <p:cNvSpPr txBox="1">
            <a:spLocks/>
          </p:cNvSpPr>
          <p:nvPr/>
        </p:nvSpPr>
        <p:spPr>
          <a:xfrm>
            <a:off x="2878468" y="3265882"/>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53" name="Picture 16" descr="Image result for outlook email logo black">
            <a:extLst>
              <a:ext uri="{FF2B5EF4-FFF2-40B4-BE49-F238E27FC236}">
                <a16:creationId xmlns:a16="http://schemas.microsoft.com/office/drawing/2014/main" id="{1339D10F-A7F6-459A-BC41-86945412669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98116" y="2262714"/>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54" name="Text Placeholder 9">
            <a:hlinkClick r:id="rId11"/>
            <a:extLst>
              <a:ext uri="{FF2B5EF4-FFF2-40B4-BE49-F238E27FC236}">
                <a16:creationId xmlns:a16="http://schemas.microsoft.com/office/drawing/2014/main" id="{DC22C29F-1B24-4845-BF52-52D9FC3A9AA6}"/>
              </a:ext>
            </a:extLst>
          </p:cNvPr>
          <p:cNvSpPr txBox="1">
            <a:spLocks/>
          </p:cNvSpPr>
          <p:nvPr/>
        </p:nvSpPr>
        <p:spPr>
          <a:xfrm>
            <a:off x="2896020" y="2767450"/>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55" name="Text Placeholder 9">
            <a:hlinkClick r:id="rId12"/>
            <a:extLst>
              <a:ext uri="{FF2B5EF4-FFF2-40B4-BE49-F238E27FC236}">
                <a16:creationId xmlns:a16="http://schemas.microsoft.com/office/drawing/2014/main" id="{4DBB72F9-D5CE-45FA-9220-80BF8C6D9267}"/>
              </a:ext>
            </a:extLst>
          </p:cNvPr>
          <p:cNvSpPr txBox="1">
            <a:spLocks/>
          </p:cNvSpPr>
          <p:nvPr/>
        </p:nvSpPr>
        <p:spPr>
          <a:xfrm>
            <a:off x="2891593" y="3770049"/>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56" name="Text Placeholder 9">
            <a:hlinkClick r:id="rId13"/>
            <a:extLst>
              <a:ext uri="{FF2B5EF4-FFF2-40B4-BE49-F238E27FC236}">
                <a16:creationId xmlns:a16="http://schemas.microsoft.com/office/drawing/2014/main" id="{6C680AE3-1A90-44CC-9B42-3B17584F8112}"/>
              </a:ext>
            </a:extLst>
          </p:cNvPr>
          <p:cNvSpPr txBox="1">
            <a:spLocks/>
          </p:cNvSpPr>
          <p:nvPr/>
        </p:nvSpPr>
        <p:spPr>
          <a:xfrm>
            <a:off x="2898115" y="2261047"/>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pic>
        <p:nvPicPr>
          <p:cNvPr id="57" name="Picture 56">
            <a:extLst>
              <a:ext uri="{FF2B5EF4-FFF2-40B4-BE49-F238E27FC236}">
                <a16:creationId xmlns:a16="http://schemas.microsoft.com/office/drawing/2014/main" id="{64E27097-0D66-421E-9372-CA343360BA78}"/>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39108630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Palette</a:t>
            </a:r>
          </a:p>
        </p:txBody>
      </p:sp>
      <p:sp>
        <p:nvSpPr>
          <p:cNvPr id="6" name="TextBox 5">
            <a:extLst>
              <a:ext uri="{FF2B5EF4-FFF2-40B4-BE49-F238E27FC236}">
                <a16:creationId xmlns:a16="http://schemas.microsoft.com/office/drawing/2014/main" id="{A79EC019-6842-044A-95B0-864A2BBC4E03}"/>
              </a:ext>
            </a:extLst>
          </p:cNvPr>
          <p:cNvSpPr txBox="1"/>
          <p:nvPr/>
        </p:nvSpPr>
        <p:spPr>
          <a:xfrm>
            <a:off x="322782" y="1381914"/>
            <a:ext cx="1642886"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Primary Palette</a:t>
            </a:r>
          </a:p>
        </p:txBody>
      </p:sp>
      <p:sp>
        <p:nvSpPr>
          <p:cNvPr id="7" name="Teardrop 6">
            <a:extLst>
              <a:ext uri="{FF2B5EF4-FFF2-40B4-BE49-F238E27FC236}">
                <a16:creationId xmlns:a16="http://schemas.microsoft.com/office/drawing/2014/main" id="{141141EB-DE5D-3449-9E61-06C2D51E63D5}"/>
              </a:ext>
            </a:extLst>
          </p:cNvPr>
          <p:cNvSpPr/>
          <p:nvPr/>
        </p:nvSpPr>
        <p:spPr>
          <a:xfrm rot="16200000" flipH="1">
            <a:off x="4072014" y="2016224"/>
            <a:ext cx="922013" cy="922013"/>
          </a:xfrm>
          <a:prstGeom prst="teardrop">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ardrop 7">
            <a:extLst>
              <a:ext uri="{FF2B5EF4-FFF2-40B4-BE49-F238E27FC236}">
                <a16:creationId xmlns:a16="http://schemas.microsoft.com/office/drawing/2014/main" id="{D9757267-3C78-564D-A3C5-96C258710E6E}"/>
              </a:ext>
            </a:extLst>
          </p:cNvPr>
          <p:cNvSpPr/>
          <p:nvPr/>
        </p:nvSpPr>
        <p:spPr>
          <a:xfrm rot="16200000" flipH="1">
            <a:off x="420791" y="1853320"/>
            <a:ext cx="1084917" cy="1084917"/>
          </a:xfrm>
          <a:prstGeom prst="teardrop">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36E21"/>
              </a:solidFill>
            </a:endParaRPr>
          </a:p>
        </p:txBody>
      </p:sp>
      <p:sp>
        <p:nvSpPr>
          <p:cNvPr id="9" name="Teardrop 8">
            <a:extLst>
              <a:ext uri="{FF2B5EF4-FFF2-40B4-BE49-F238E27FC236}">
                <a16:creationId xmlns:a16="http://schemas.microsoft.com/office/drawing/2014/main" id="{42A4A8FC-67E5-584E-93F1-1C621A81C495}"/>
              </a:ext>
            </a:extLst>
          </p:cNvPr>
          <p:cNvSpPr/>
          <p:nvPr/>
        </p:nvSpPr>
        <p:spPr>
          <a:xfrm rot="16200000" flipH="1">
            <a:off x="1684927" y="1853320"/>
            <a:ext cx="1084917" cy="1084917"/>
          </a:xfrm>
          <a:prstGeom prst="teardrop">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ardrop 9">
            <a:extLst>
              <a:ext uri="{FF2B5EF4-FFF2-40B4-BE49-F238E27FC236}">
                <a16:creationId xmlns:a16="http://schemas.microsoft.com/office/drawing/2014/main" id="{86CCA029-1007-4A47-A265-2238021630A4}"/>
              </a:ext>
            </a:extLst>
          </p:cNvPr>
          <p:cNvSpPr/>
          <p:nvPr/>
        </p:nvSpPr>
        <p:spPr>
          <a:xfrm rot="16200000" flipH="1">
            <a:off x="2951040" y="2016224"/>
            <a:ext cx="922013" cy="922013"/>
          </a:xfrm>
          <a:prstGeom prst="teardrop">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CC6331C-72BF-294B-90B5-661F0763DAC2}"/>
              </a:ext>
            </a:extLst>
          </p:cNvPr>
          <p:cNvSpPr txBox="1"/>
          <p:nvPr/>
        </p:nvSpPr>
        <p:spPr>
          <a:xfrm>
            <a:off x="322782" y="3577031"/>
            <a:ext cx="3430555"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Secondary Palette: Use Sparingly</a:t>
            </a:r>
          </a:p>
        </p:txBody>
      </p:sp>
      <p:grpSp>
        <p:nvGrpSpPr>
          <p:cNvPr id="17" name="Group 16">
            <a:extLst>
              <a:ext uri="{FF2B5EF4-FFF2-40B4-BE49-F238E27FC236}">
                <a16:creationId xmlns:a16="http://schemas.microsoft.com/office/drawing/2014/main" id="{4BC6330B-7604-884F-8538-4D6B0E5ECC17}"/>
              </a:ext>
            </a:extLst>
          </p:cNvPr>
          <p:cNvGrpSpPr/>
          <p:nvPr/>
        </p:nvGrpSpPr>
        <p:grpSpPr>
          <a:xfrm>
            <a:off x="415848" y="4134352"/>
            <a:ext cx="2297553" cy="486014"/>
            <a:chOff x="527608" y="3764814"/>
            <a:chExt cx="2943430" cy="622640"/>
          </a:xfrm>
        </p:grpSpPr>
        <p:sp>
          <p:nvSpPr>
            <p:cNvPr id="13" name="Teardrop 12">
              <a:extLst>
                <a:ext uri="{FF2B5EF4-FFF2-40B4-BE49-F238E27FC236}">
                  <a16:creationId xmlns:a16="http://schemas.microsoft.com/office/drawing/2014/main" id="{7AC7369B-CBC9-714F-A6C2-DCE08B29C9FF}"/>
                </a:ext>
              </a:extLst>
            </p:cNvPr>
            <p:cNvSpPr/>
            <p:nvPr/>
          </p:nvSpPr>
          <p:spPr>
            <a:xfrm rot="16200000" flipH="1">
              <a:off x="527608" y="3764814"/>
              <a:ext cx="622640" cy="62264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ardrop 13">
              <a:extLst>
                <a:ext uri="{FF2B5EF4-FFF2-40B4-BE49-F238E27FC236}">
                  <a16:creationId xmlns:a16="http://schemas.microsoft.com/office/drawing/2014/main" id="{1F470E1E-036E-464F-9218-E9F7C1C8E859}"/>
                </a:ext>
              </a:extLst>
            </p:cNvPr>
            <p:cNvSpPr/>
            <p:nvPr/>
          </p:nvSpPr>
          <p:spPr>
            <a:xfrm rot="16200000" flipH="1">
              <a:off x="1301204" y="3764814"/>
              <a:ext cx="622640" cy="622640"/>
            </a:xfrm>
            <a:prstGeom prst="teardrop">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ardrop 14">
              <a:extLst>
                <a:ext uri="{FF2B5EF4-FFF2-40B4-BE49-F238E27FC236}">
                  <a16:creationId xmlns:a16="http://schemas.microsoft.com/office/drawing/2014/main" id="{D98E07A1-91E0-F245-934B-8A26D0709C32}"/>
                </a:ext>
              </a:extLst>
            </p:cNvPr>
            <p:cNvSpPr/>
            <p:nvPr/>
          </p:nvSpPr>
          <p:spPr>
            <a:xfrm rot="16200000" flipH="1">
              <a:off x="2074801" y="3764814"/>
              <a:ext cx="622640" cy="622640"/>
            </a:xfrm>
            <a:prstGeom prst="teardrop">
              <a:avLst/>
            </a:prstGeom>
            <a:solidFill>
              <a:srgbClr val="289E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ardrop 15">
              <a:extLst>
                <a:ext uri="{FF2B5EF4-FFF2-40B4-BE49-F238E27FC236}">
                  <a16:creationId xmlns:a16="http://schemas.microsoft.com/office/drawing/2014/main" id="{9EEECADE-D62E-3944-ACF9-B36C761A5765}"/>
                </a:ext>
              </a:extLst>
            </p:cNvPr>
            <p:cNvSpPr/>
            <p:nvPr/>
          </p:nvSpPr>
          <p:spPr>
            <a:xfrm rot="16200000" flipH="1">
              <a:off x="2848398" y="3764814"/>
              <a:ext cx="622640" cy="622640"/>
            </a:xfrm>
            <a:prstGeom prst="teardrop">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4455231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p:txBody>
      </p:sp>
    </p:spTree>
    <p:extLst>
      <p:ext uri="{BB962C8B-B14F-4D97-AF65-F5344CB8AC3E}">
        <p14:creationId xmlns:p14="http://schemas.microsoft.com/office/powerpoint/2010/main" val="718311111"/>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1027004898"/>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itles are 36pt Segoe UI </a:t>
            </a:r>
            <a:r>
              <a:rPr lang="en-US" dirty="0" err="1"/>
              <a:t>semibold</a:t>
            </a:r>
            <a:endParaRPr lang="en-US" dirty="0"/>
          </a:p>
        </p:txBody>
      </p:sp>
      <p:sp>
        <p:nvSpPr>
          <p:cNvPr id="12" name="Text Placeholder 11">
            <a:extLst>
              <a:ext uri="{FF2B5EF4-FFF2-40B4-BE49-F238E27FC236}">
                <a16:creationId xmlns:a16="http://schemas.microsoft.com/office/drawing/2014/main" id="{1AC77490-481E-CC44-A537-073EF490C56D}"/>
              </a:ext>
            </a:extLst>
          </p:cNvPr>
          <p:cNvSpPr>
            <a:spLocks noGrp="1"/>
          </p:cNvSpPr>
          <p:nvPr>
            <p:ph type="body" sz="quarter" idx="21"/>
          </p:nvPr>
        </p:nvSpPr>
        <p:spPr/>
        <p:txBody>
          <a:bodyPr/>
          <a:lstStyle/>
          <a:p>
            <a:r>
              <a:rPr lang="en-US" dirty="0"/>
              <a:t>Body copy, 24pt Segoe UI Regular</a:t>
            </a:r>
          </a:p>
        </p:txBody>
      </p:sp>
      <p:sp>
        <p:nvSpPr>
          <p:cNvPr id="15" name="Text Placeholder 14">
            <a:extLst>
              <a:ext uri="{FF2B5EF4-FFF2-40B4-BE49-F238E27FC236}">
                <a16:creationId xmlns:a16="http://schemas.microsoft.com/office/drawing/2014/main" id="{ECCC0CB4-FC45-8142-ADCD-910E57445555}"/>
              </a:ext>
            </a:extLst>
          </p:cNvPr>
          <p:cNvSpPr>
            <a:spLocks noGrp="1"/>
          </p:cNvSpPr>
          <p:nvPr>
            <p:ph type="body" sz="quarter" idx="10"/>
          </p:nvPr>
        </p:nvSpPr>
        <p:spPr/>
        <p:txBody>
          <a:bodyPr/>
          <a:lstStyle/>
          <a:p>
            <a:r>
              <a:rPr lang="en-US" dirty="0"/>
              <a:t>24pt Segoe UI </a:t>
            </a:r>
            <a:r>
              <a:rPr lang="en-US" dirty="0" err="1"/>
              <a:t>Semibold</a:t>
            </a:r>
            <a:endParaRPr lang="en-US" dirty="0"/>
          </a:p>
        </p:txBody>
      </p:sp>
    </p:spTree>
    <p:extLst>
      <p:ext uri="{BB962C8B-B14F-4D97-AF65-F5344CB8AC3E}">
        <p14:creationId xmlns:p14="http://schemas.microsoft.com/office/powerpoint/2010/main" val="3035634063"/>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D5667E16-7B91-7040-A169-703FAA13A669}"/>
              </a:ext>
            </a:extLst>
          </p:cNvPr>
          <p:cNvSpPr>
            <a:spLocks noGrp="1"/>
          </p:cNvSpPr>
          <p:nvPr>
            <p:ph type="body" sz="quarter" idx="10"/>
          </p:nvPr>
        </p:nvSpPr>
        <p:spPr/>
        <p:txBody>
          <a:bodyPr/>
          <a:lstStyle/>
          <a:p>
            <a:r>
              <a:rPr lang="en-US" dirty="0"/>
              <a:t>24pt Segoe UI </a:t>
            </a:r>
            <a:r>
              <a:rPr lang="en-US" dirty="0" err="1"/>
              <a:t>Semibold</a:t>
            </a:r>
            <a:endParaRPr lang="en-US" dirty="0"/>
          </a:p>
        </p:txBody>
      </p:sp>
      <p:sp>
        <p:nvSpPr>
          <p:cNvPr id="23" name="Text Placeholder 22">
            <a:extLst>
              <a:ext uri="{FF2B5EF4-FFF2-40B4-BE49-F238E27FC236}">
                <a16:creationId xmlns:a16="http://schemas.microsoft.com/office/drawing/2014/main" id="{340E40EA-D8AA-2A4B-9A0D-D4987B8F70E3}"/>
              </a:ext>
            </a:extLst>
          </p:cNvPr>
          <p:cNvSpPr>
            <a:spLocks noGrp="1"/>
          </p:cNvSpPr>
          <p:nvPr>
            <p:ph type="body" sz="quarter" idx="24"/>
          </p:nvPr>
        </p:nvSpPr>
        <p:spPr/>
        <p:txBody>
          <a:bodyPr/>
          <a:lstStyle/>
          <a:p>
            <a:r>
              <a:rPr lang="en-US" dirty="0"/>
              <a:t>24pt Segoe UI </a:t>
            </a:r>
            <a:r>
              <a:rPr lang="en-US" dirty="0" err="1"/>
              <a:t>Semibold</a:t>
            </a:r>
            <a:endParaRPr lang="en-US" dirty="0"/>
          </a:p>
        </p:txBody>
      </p:sp>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wo points</a:t>
            </a:r>
          </a:p>
        </p:txBody>
      </p:sp>
      <p:sp>
        <p:nvSpPr>
          <p:cNvPr id="24" name="Text Placeholder 23">
            <a:extLst>
              <a:ext uri="{FF2B5EF4-FFF2-40B4-BE49-F238E27FC236}">
                <a16:creationId xmlns:a16="http://schemas.microsoft.com/office/drawing/2014/main" id="{907CB993-3A54-D34D-AEC8-F3E49762F304}"/>
              </a:ext>
            </a:extLst>
          </p:cNvPr>
          <p:cNvSpPr>
            <a:spLocks noGrp="1"/>
          </p:cNvSpPr>
          <p:nvPr>
            <p:ph type="body" sz="quarter" idx="26"/>
          </p:nvPr>
        </p:nvSpPr>
        <p:spPr/>
        <p:txBody>
          <a:bodyPr/>
          <a:lstStyle/>
          <a:p>
            <a:r>
              <a:rPr lang="en-US" dirty="0"/>
              <a:t>Body copy, 24pt Segoe UI Regular</a:t>
            </a:r>
          </a:p>
        </p:txBody>
      </p:sp>
      <p:sp>
        <p:nvSpPr>
          <p:cNvPr id="25" name="Text Placeholder 24">
            <a:extLst>
              <a:ext uri="{FF2B5EF4-FFF2-40B4-BE49-F238E27FC236}">
                <a16:creationId xmlns:a16="http://schemas.microsoft.com/office/drawing/2014/main" id="{52C8BFE4-9BFC-024D-A2A5-F9CDBB7E9D16}"/>
              </a:ext>
            </a:extLst>
          </p:cNvPr>
          <p:cNvSpPr>
            <a:spLocks noGrp="1"/>
          </p:cNvSpPr>
          <p:nvPr>
            <p:ph type="body" sz="quarter" idx="27"/>
          </p:nvPr>
        </p:nvSpPr>
        <p:spPr/>
        <p:txBody>
          <a:bodyPr/>
          <a:lstStyle/>
          <a:p>
            <a:r>
              <a:rPr lang="en-US" dirty="0"/>
              <a:t>Body copy, 24pt Segoe UI Regular</a:t>
            </a:r>
          </a:p>
        </p:txBody>
      </p:sp>
    </p:spTree>
    <p:extLst>
      <p:ext uri="{BB962C8B-B14F-4D97-AF65-F5344CB8AC3E}">
        <p14:creationId xmlns:p14="http://schemas.microsoft.com/office/powerpoint/2010/main" val="1718167083"/>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82CCB1B-3DB4-794C-8DC8-0C5C086B0991}"/>
              </a:ext>
            </a:extLst>
          </p:cNvPr>
          <p:cNvSpPr>
            <a:spLocks noGrp="1"/>
          </p:cNvSpPr>
          <p:nvPr>
            <p:ph type="title"/>
          </p:nvPr>
        </p:nvSpPr>
        <p:spPr/>
        <p:txBody>
          <a:bodyPr/>
          <a:lstStyle/>
          <a:p>
            <a:r>
              <a:rPr lang="en-US" dirty="0"/>
              <a:t>Three points</a:t>
            </a:r>
          </a:p>
        </p:txBody>
      </p:sp>
      <p:sp>
        <p:nvSpPr>
          <p:cNvPr id="30" name="Text Placeholder 29">
            <a:extLst>
              <a:ext uri="{FF2B5EF4-FFF2-40B4-BE49-F238E27FC236}">
                <a16:creationId xmlns:a16="http://schemas.microsoft.com/office/drawing/2014/main" id="{4FD3956B-B4B4-5841-8881-086D59577B27}"/>
              </a:ext>
            </a:extLst>
          </p:cNvPr>
          <p:cNvSpPr>
            <a:spLocks noGrp="1"/>
          </p:cNvSpPr>
          <p:nvPr>
            <p:ph type="body" sz="quarter" idx="10"/>
          </p:nvPr>
        </p:nvSpPr>
        <p:spPr/>
        <p:txBody>
          <a:bodyPr/>
          <a:lstStyle/>
          <a:p>
            <a:r>
              <a:rPr lang="en-US" dirty="0"/>
              <a:t>24pt Segoe UI</a:t>
            </a:r>
          </a:p>
        </p:txBody>
      </p:sp>
      <p:sp>
        <p:nvSpPr>
          <p:cNvPr id="31" name="Text Placeholder 30">
            <a:extLst>
              <a:ext uri="{FF2B5EF4-FFF2-40B4-BE49-F238E27FC236}">
                <a16:creationId xmlns:a16="http://schemas.microsoft.com/office/drawing/2014/main" id="{8CC2B3C6-825A-F244-97BC-272D1C860C9F}"/>
              </a:ext>
            </a:extLst>
          </p:cNvPr>
          <p:cNvSpPr>
            <a:spLocks noGrp="1"/>
          </p:cNvSpPr>
          <p:nvPr>
            <p:ph type="body" sz="quarter" idx="26"/>
          </p:nvPr>
        </p:nvSpPr>
        <p:spPr/>
        <p:txBody>
          <a:bodyPr/>
          <a:lstStyle/>
          <a:p>
            <a:r>
              <a:rPr lang="en-US" dirty="0"/>
              <a:t>Body copy, 24pt Segoe UI Regular</a:t>
            </a:r>
          </a:p>
        </p:txBody>
      </p:sp>
      <p:sp>
        <p:nvSpPr>
          <p:cNvPr id="39" name="Text Placeholder 38">
            <a:extLst>
              <a:ext uri="{FF2B5EF4-FFF2-40B4-BE49-F238E27FC236}">
                <a16:creationId xmlns:a16="http://schemas.microsoft.com/office/drawing/2014/main" id="{41951C38-52B2-C142-84F3-1DFA8B4A5FF6}"/>
              </a:ext>
            </a:extLst>
          </p:cNvPr>
          <p:cNvSpPr>
            <a:spLocks noGrp="1"/>
          </p:cNvSpPr>
          <p:nvPr>
            <p:ph type="body" sz="quarter" idx="27"/>
          </p:nvPr>
        </p:nvSpPr>
        <p:spPr/>
        <p:txBody>
          <a:bodyPr/>
          <a:lstStyle/>
          <a:p>
            <a:r>
              <a:rPr lang="en-US" dirty="0"/>
              <a:t>24pt Segoe UI</a:t>
            </a:r>
          </a:p>
        </p:txBody>
      </p:sp>
      <p:sp>
        <p:nvSpPr>
          <p:cNvPr id="40" name="Text Placeholder 39">
            <a:extLst>
              <a:ext uri="{FF2B5EF4-FFF2-40B4-BE49-F238E27FC236}">
                <a16:creationId xmlns:a16="http://schemas.microsoft.com/office/drawing/2014/main" id="{BF5103A8-F08A-1941-88D6-2C891BA699D7}"/>
              </a:ext>
            </a:extLst>
          </p:cNvPr>
          <p:cNvSpPr>
            <a:spLocks noGrp="1"/>
          </p:cNvSpPr>
          <p:nvPr>
            <p:ph type="body" sz="quarter" idx="28"/>
          </p:nvPr>
        </p:nvSpPr>
        <p:spPr/>
        <p:txBody>
          <a:bodyPr/>
          <a:lstStyle/>
          <a:p>
            <a:r>
              <a:rPr lang="en-US" dirty="0"/>
              <a:t>Body copy, 24pt Segoe UI Regular</a:t>
            </a:r>
          </a:p>
          <a:p>
            <a:endParaRPr lang="en-US" dirty="0"/>
          </a:p>
        </p:txBody>
      </p:sp>
      <p:sp>
        <p:nvSpPr>
          <p:cNvPr id="41" name="Text Placeholder 40">
            <a:extLst>
              <a:ext uri="{FF2B5EF4-FFF2-40B4-BE49-F238E27FC236}">
                <a16:creationId xmlns:a16="http://schemas.microsoft.com/office/drawing/2014/main" id="{A3917573-DAC0-CC44-86D7-010BC7C6ED16}"/>
              </a:ext>
            </a:extLst>
          </p:cNvPr>
          <p:cNvSpPr>
            <a:spLocks noGrp="1"/>
          </p:cNvSpPr>
          <p:nvPr>
            <p:ph type="body" sz="quarter" idx="29"/>
          </p:nvPr>
        </p:nvSpPr>
        <p:spPr/>
        <p:txBody>
          <a:bodyPr/>
          <a:lstStyle/>
          <a:p>
            <a:r>
              <a:rPr lang="en-US" dirty="0"/>
              <a:t>24pt Segoe UI</a:t>
            </a:r>
          </a:p>
        </p:txBody>
      </p:sp>
      <p:sp>
        <p:nvSpPr>
          <p:cNvPr id="42" name="Text Placeholder 41">
            <a:extLst>
              <a:ext uri="{FF2B5EF4-FFF2-40B4-BE49-F238E27FC236}">
                <a16:creationId xmlns:a16="http://schemas.microsoft.com/office/drawing/2014/main" id="{C5D48F72-C566-EB4E-BE9C-667C1AB7D0DC}"/>
              </a:ext>
            </a:extLst>
          </p:cNvPr>
          <p:cNvSpPr>
            <a:spLocks noGrp="1"/>
          </p:cNvSpPr>
          <p:nvPr>
            <p:ph type="body" sz="quarter" idx="30"/>
          </p:nvPr>
        </p:nvSpPr>
        <p:spPr/>
        <p:txBody>
          <a:bodyPr/>
          <a:lstStyle/>
          <a:p>
            <a:r>
              <a:rPr lang="en-US" dirty="0"/>
              <a:t>Body copy, 24pt Segoe UI Regular</a:t>
            </a:r>
          </a:p>
          <a:p>
            <a:endParaRPr lang="en-US" dirty="0"/>
          </a:p>
        </p:txBody>
      </p:sp>
    </p:spTree>
    <p:extLst>
      <p:ext uri="{BB962C8B-B14F-4D97-AF65-F5344CB8AC3E}">
        <p14:creationId xmlns:p14="http://schemas.microsoft.com/office/powerpoint/2010/main" val="273811122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able style</a:t>
            </a:r>
          </a:p>
        </p:txBody>
      </p:sp>
      <p:graphicFrame>
        <p:nvGraphicFramePr>
          <p:cNvPr id="12" name="Table 11">
            <a:extLst>
              <a:ext uri="{FF2B5EF4-FFF2-40B4-BE49-F238E27FC236}">
                <a16:creationId xmlns:a16="http://schemas.microsoft.com/office/drawing/2014/main" id="{0E067A6D-34BF-3142-B449-95ABA0F5406C}"/>
              </a:ext>
            </a:extLst>
          </p:cNvPr>
          <p:cNvGraphicFramePr>
            <a:graphicFrameLocks noGrp="1"/>
          </p:cNvGraphicFramePr>
          <p:nvPr>
            <p:extLst>
              <p:ext uri="{D42A27DB-BD31-4B8C-83A1-F6EECF244321}">
                <p14:modId xmlns:p14="http://schemas.microsoft.com/office/powerpoint/2010/main" val="2758393910"/>
              </p:ext>
            </p:extLst>
          </p:nvPr>
        </p:nvGraphicFramePr>
        <p:xfrm>
          <a:off x="377039" y="1594593"/>
          <a:ext cx="8359617" cy="3072161"/>
        </p:xfrm>
        <a:graphic>
          <a:graphicData uri="http://schemas.openxmlformats.org/drawingml/2006/table">
            <a:tbl>
              <a:tblPr firstRow="1" bandRow="1">
                <a:tableStyleId>{2D5ABB26-0587-4C30-8999-92F81FD0307C}</a:tableStyleId>
              </a:tblPr>
              <a:tblGrid>
                <a:gridCol w="2786539">
                  <a:extLst>
                    <a:ext uri="{9D8B030D-6E8A-4147-A177-3AD203B41FA5}">
                      <a16:colId xmlns:a16="http://schemas.microsoft.com/office/drawing/2014/main" val="3310045158"/>
                    </a:ext>
                  </a:extLst>
                </a:gridCol>
                <a:gridCol w="2786539">
                  <a:extLst>
                    <a:ext uri="{9D8B030D-6E8A-4147-A177-3AD203B41FA5}">
                      <a16:colId xmlns:a16="http://schemas.microsoft.com/office/drawing/2014/main" val="558346684"/>
                    </a:ext>
                  </a:extLst>
                </a:gridCol>
                <a:gridCol w="2786539">
                  <a:extLst>
                    <a:ext uri="{9D8B030D-6E8A-4147-A177-3AD203B41FA5}">
                      <a16:colId xmlns:a16="http://schemas.microsoft.com/office/drawing/2014/main" val="471058550"/>
                    </a:ext>
                  </a:extLst>
                </a:gridCol>
              </a:tblGrid>
              <a:tr h="745101">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a:noFill/>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ea typeface="+mn-ea"/>
                          <a:cs typeface="Segoe UI Semibold" panose="020B0502040204020203" pitchFamily="34" charset="0"/>
                        </a:rPr>
                        <a:t>Heading</a:t>
                      </a:r>
                    </a:p>
                  </a:txBody>
                  <a:tcPr anchor="ctr">
                    <a:lnL w="12700" cap="flat" cmpd="sng" algn="ctr">
                      <a:no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227163"/>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170832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4979037"/>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64148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8486461"/>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463975009"/>
                  </a:ext>
                </a:extLst>
              </a:tr>
            </a:tbl>
          </a:graphicData>
        </a:graphic>
      </p:graphicFrame>
    </p:spTree>
    <p:extLst>
      <p:ext uri="{BB962C8B-B14F-4D97-AF65-F5344CB8AC3E}">
        <p14:creationId xmlns:p14="http://schemas.microsoft.com/office/powerpoint/2010/main" val="273011678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Slide for Developer’s Software Code</a:t>
            </a:r>
          </a:p>
        </p:txBody>
      </p:sp>
      <p:sp>
        <p:nvSpPr>
          <p:cNvPr id="2" name="Rectangle 1">
            <a:extLst>
              <a:ext uri="{FF2B5EF4-FFF2-40B4-BE49-F238E27FC236}">
                <a16:creationId xmlns:a16="http://schemas.microsoft.com/office/drawing/2014/main" id="{5A55B69C-86C8-D648-90AC-3A502B32F3F0}"/>
              </a:ext>
            </a:extLst>
          </p:cNvPr>
          <p:cNvSpPr/>
          <p:nvPr/>
        </p:nvSpPr>
        <p:spPr>
          <a:xfrm>
            <a:off x="312744" y="1571854"/>
            <a:ext cx="8274208" cy="1938992"/>
          </a:xfrm>
          <a:prstGeom prst="rect">
            <a:avLst/>
          </a:prstGeom>
        </p:spPr>
        <p:txBody>
          <a:bodyPr wrap="square">
            <a:spAutoFit/>
          </a:bodyPr>
          <a:lstStyle/>
          <a:p>
            <a:pPr marL="4763" lvl="0">
              <a:spcAft>
                <a:spcPts val="1200"/>
              </a:spcAft>
            </a:pPr>
            <a:r>
              <a:rPr lang="en-US" dirty="0">
                <a:latin typeface="Consolas" panose="020B0609020204030204" pitchFamily="49" charset="0"/>
                <a:cs typeface="Consolas" panose="020B0609020204030204" pitchFamily="49" charset="0"/>
              </a:rPr>
              <a:t>Use this layout to show software code</a:t>
            </a:r>
          </a:p>
          <a:p>
            <a:pPr marL="4763" lvl="1">
              <a:spcAft>
                <a:spcPts val="1200"/>
              </a:spcAft>
            </a:pPr>
            <a:r>
              <a:rPr lang="en-US" dirty="0">
                <a:latin typeface="Consolas" panose="020B0609020204030204" pitchFamily="49" charset="0"/>
                <a:cs typeface="Consolas" panose="020B0609020204030204" pitchFamily="49" charset="0"/>
              </a:rPr>
              <a:t>The font is Consolas, a monospace font</a:t>
            </a:r>
          </a:p>
          <a:p>
            <a:pPr marL="4763" lvl="1">
              <a:spcAft>
                <a:spcPts val="1200"/>
              </a:spcAft>
            </a:pPr>
            <a:r>
              <a:rPr lang="en-US" dirty="0">
                <a:latin typeface="Consolas" panose="020B0609020204030204" pitchFamily="49" charset="0"/>
                <a:cs typeface="Consolas" panose="020B0609020204030204" pitchFamily="49" charset="0"/>
              </a:rPr>
              <a:t>The slide doesn’t use bullets but levels can be indented using the “Increase List Level” icon on the Home menu</a:t>
            </a:r>
          </a:p>
          <a:p>
            <a:pPr marL="4763">
              <a:spcAft>
                <a:spcPts val="1200"/>
              </a:spcAft>
            </a:pPr>
            <a:endParaRPr lang="en-US"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74626111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AB5F4-68F5-9B40-B708-7FA296995D4A}"/>
              </a:ext>
            </a:extLst>
          </p:cNvPr>
          <p:cNvSpPr>
            <a:spLocks noGrp="1"/>
          </p:cNvSpPr>
          <p:nvPr>
            <p:ph type="title"/>
          </p:nvPr>
        </p:nvSpPr>
        <p:spPr>
          <a:xfrm>
            <a:off x="466363" y="2409477"/>
            <a:ext cx="4105637" cy="1804077"/>
          </a:xfrm>
          <a:prstGeom prst="rect">
            <a:avLst/>
          </a:prstGeom>
        </p:spPr>
        <p:txBody>
          <a:bodyPr/>
          <a:lstStyle/>
          <a:p>
            <a:r>
              <a:rPr lang="en-US" dirty="0"/>
              <a:t>Video title here, Segoe UI 40pt</a:t>
            </a:r>
          </a:p>
        </p:txBody>
      </p:sp>
    </p:spTree>
    <p:extLst>
      <p:ext uri="{BB962C8B-B14F-4D97-AF65-F5344CB8AC3E}">
        <p14:creationId xmlns:p14="http://schemas.microsoft.com/office/powerpoint/2010/main" val="38331741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887A80D-4BD5-4EFE-A5F0-57D1D133C1CD}"/>
              </a:ext>
            </a:extLst>
          </p:cNvPr>
          <p:cNvPicPr>
            <a:picLocks noChangeAspect="1"/>
          </p:cNvPicPr>
          <p:nvPr/>
        </p:nvPicPr>
        <p:blipFill>
          <a:blip r:embed="rId3"/>
          <a:stretch>
            <a:fillRect/>
          </a:stretch>
        </p:blipFill>
        <p:spPr>
          <a:xfrm>
            <a:off x="0" y="2565"/>
            <a:ext cx="9148564" cy="5140934"/>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7171E-57E2-441C-9B9B-EC8F1359879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EAF0F-06DB-4E8D-8E59-727F79D10C4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C76B0F-FBE3-49D7-A76A-6AFE9146032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F1E11-DB53-4B7F-964F-BDC054EC234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FFDA1C-CB18-4E04-B98F-6AE370D58F5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C3360-9656-4D64-9467-0E475BE6D85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034405-B9B2-4D89-A938-8454734F0A9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978223-6E53-40CA-AE67-F9C64317FEC4}"/>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2034177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F04EB8-2176-4F99-A9CD-979B47100A3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77D4B-7774-47D9-AFE9-8600479D9876}"/>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5BA28-2CC7-44AA-A3E3-72EF9D9066C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261256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0CA513-435E-4AEE-8FFF-15BEDF58879D}"/>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941268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04001E-EE7E-40FB-A870-24B9879047D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8963438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E0661-E62E-491B-B05A-0571F3DC65BE}"/>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682962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FFAF1B-AFCE-4B40-9019-36B05EF6842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4182510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3BDFE4-5A82-47CB-B1CE-AF846432140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60270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A85848-72BB-45FB-8CB6-710FF2CC8F1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2A99-7B5A-476A-B114-98FE61ADD218}"/>
              </a:ext>
            </a:extLst>
          </p:cNvPr>
          <p:cNvPicPr>
            <a:picLocks noChangeAspect="1"/>
          </p:cNvPicPr>
          <p:nvPr/>
        </p:nvPicPr>
        <p:blipFill>
          <a:blip r:embed="rId3"/>
          <a:stretch>
            <a:fillRect/>
          </a:stretch>
        </p:blipFill>
        <p:spPr>
          <a:xfrm>
            <a:off x="0" y="2225"/>
            <a:ext cx="9144000" cy="5139049"/>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906620" y="2031522"/>
            <a:ext cx="1517515" cy="10553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2200" dirty="0">
                <a:solidFill>
                  <a:schemeClr val="accent2"/>
                </a:solidFill>
                <a:latin typeface="Segoe UI Semibold" panose="020B0702040204020203" pitchFamily="34" charset="0"/>
                <a:cs typeface="Segoe UI Semibold" panose="020B0702040204020203" pitchFamily="34" charset="0"/>
              </a:rPr>
              <a:t>Principal Data Architect, Universal Property</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p>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5989</TotalTime>
  <Words>11629</Words>
  <Application>Microsoft Office PowerPoint</Application>
  <PresentationFormat>On-screen Show (16:9)</PresentationFormat>
  <Paragraphs>1386</Paragraphs>
  <Slides>288</Slides>
  <Notes>244</Notes>
  <HiddenSlides>1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88</vt:i4>
      </vt:variant>
    </vt:vector>
  </HeadingPairs>
  <TitlesOfParts>
    <vt:vector size="304"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s – Ai builder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LS (DEMO 7)</vt:lpstr>
      <vt:lpstr>PowerPoint Presentation</vt:lpstr>
      <vt:lpstr>PowerPoint Presentation</vt:lpstr>
      <vt:lpstr>PowerPoint Presentation</vt:lpstr>
      <vt:lpstr>PowerPoint Presentation</vt:lpstr>
      <vt:lpstr>PowerPoint Presentation</vt:lpstr>
      <vt:lpstr>PowerPoint Presentation</vt:lpstr>
      <vt:lpstr>Approvals (DEMO 9)</vt:lpstr>
      <vt:lpstr>PowerPoint Presentation</vt:lpstr>
      <vt:lpstr>International Space Station (DEMO 10)</vt:lpstr>
      <vt:lpstr>PowerPoint Presentation</vt:lpstr>
      <vt:lpstr>PowerPoint Presentation</vt:lpstr>
      <vt:lpstr>Summary</vt:lpstr>
      <vt:lpstr>Resources</vt:lpstr>
      <vt:lpstr>Resources</vt:lpstr>
      <vt:lpstr>PowerPoint Presentation</vt:lpstr>
      <vt:lpstr>PowerPoint Presentation</vt:lpstr>
      <vt:lpstr>PowerPoint Presentation</vt:lpstr>
      <vt:lpstr>Hiram Fleitas</vt:lpstr>
      <vt:lpstr>PowerPoint Presentation</vt:lpstr>
      <vt:lpstr>Palette</vt:lpstr>
      <vt:lpstr>Agenda</vt:lpstr>
      <vt:lpstr>Intro</vt:lpstr>
      <vt:lpstr>Titles are 36pt Segoe UI semibold</vt:lpstr>
      <vt:lpstr>Two points</vt:lpstr>
      <vt:lpstr>Three points</vt:lpstr>
      <vt:lpstr>Table style</vt:lpstr>
      <vt:lpstr>Slide for Developer’s Software Code</vt:lpstr>
      <vt:lpstr>Video title here, Segoe UI 40p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hf0524@universalproperty.com</dc:creator>
  <cp:keywords>PowerApps, MS Flow, Power BI</cp:keywords>
  <cp:lastModifiedBy>Hiram Fleitas</cp:lastModifiedBy>
  <cp:revision>1291</cp:revision>
  <dcterms:created xsi:type="dcterms:W3CDTF">2013-07-12T18:23:55Z</dcterms:created>
  <dcterms:modified xsi:type="dcterms:W3CDTF">2019-10-30T21:20:33Z</dcterms:modified>
  <cp:category>Develop</cp:category>
  <cp:contentStatus/>
</cp:coreProperties>
</file>